
<file path=[Content_Types].xml><?xml version="1.0" encoding="utf-8"?>
<Types xmlns="http://schemas.openxmlformats.org/package/2006/content-types">
  <Default Extension="bin" ContentType="image/pn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5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6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7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3" r:id="rId1"/>
    <p:sldMasterId id="2147483836" r:id="rId2"/>
    <p:sldMasterId id="2147483852" r:id="rId3"/>
    <p:sldMasterId id="2147483868" r:id="rId4"/>
    <p:sldMasterId id="2147483890" r:id="rId5"/>
    <p:sldMasterId id="2147483916" r:id="rId6"/>
    <p:sldMasterId id="2147483933" r:id="rId7"/>
  </p:sldMasterIdLst>
  <p:notesMasterIdLst>
    <p:notesMasterId r:id="rId21"/>
  </p:notesMasterIdLst>
  <p:handoutMasterIdLst>
    <p:handoutMasterId r:id="rId22"/>
  </p:handoutMasterIdLst>
  <p:sldIdLst>
    <p:sldId id="257" r:id="rId8"/>
    <p:sldId id="5068" r:id="rId9"/>
    <p:sldId id="409" r:id="rId10"/>
    <p:sldId id="4842" r:id="rId11"/>
    <p:sldId id="4843" r:id="rId12"/>
    <p:sldId id="4844" r:id="rId13"/>
    <p:sldId id="4845" r:id="rId14"/>
    <p:sldId id="4846" r:id="rId15"/>
    <p:sldId id="4848" r:id="rId16"/>
    <p:sldId id="283" r:id="rId17"/>
    <p:sldId id="468" r:id="rId18"/>
    <p:sldId id="5062" r:id="rId19"/>
    <p:sldId id="268" r:id="rId20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56" userDrawn="1">
          <p15:clr>
            <a:srgbClr val="A4A3A4"/>
          </p15:clr>
        </p15:guide>
        <p15:guide id="2" orient="horz" pos="2664" userDrawn="1">
          <p15:clr>
            <a:srgbClr val="A4A3A4"/>
          </p15:clr>
        </p15:guide>
        <p15:guide id="3" pos="2688" userDrawn="1">
          <p15:clr>
            <a:srgbClr val="A4A3A4"/>
          </p15:clr>
        </p15:guide>
        <p15:guide id="4" pos="5184" userDrawn="1">
          <p15:clr>
            <a:srgbClr val="A4A3A4"/>
          </p15:clr>
        </p15:guide>
        <p15:guide id="5" pos="2496" userDrawn="1">
          <p15:clr>
            <a:srgbClr val="A4A3A4"/>
          </p15:clr>
        </p15:guide>
        <p15:guide id="6" pos="49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32225"/>
    <a:srgbClr val="AA851E"/>
    <a:srgbClr val="007E6C"/>
    <a:srgbClr val="505B2B"/>
    <a:srgbClr val="07627F"/>
    <a:srgbClr val="B3E7E1"/>
    <a:srgbClr val="66C8E7"/>
    <a:srgbClr val="0A84AB"/>
    <a:srgbClr val="3D76E7"/>
    <a:srgbClr val="E2BB5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412" autoAdjust="0"/>
    <p:restoredTop sz="95181" autoAdjust="0"/>
  </p:normalViewPr>
  <p:slideViewPr>
    <p:cSldViewPr snapToGrid="0">
      <p:cViewPr varScale="1">
        <p:scale>
          <a:sx n="78" d="100"/>
          <a:sy n="78" d="100"/>
        </p:scale>
        <p:origin x="356" y="48"/>
      </p:cViewPr>
      <p:guideLst>
        <p:guide orient="horz" pos="1056"/>
        <p:guide orient="horz" pos="2664"/>
        <p:guide pos="2688"/>
        <p:guide pos="5184"/>
        <p:guide pos="2496"/>
        <p:guide pos="499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89" d="100"/>
          <a:sy n="89" d="100"/>
        </p:scale>
        <p:origin x="2652" y="-18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tags" Target="tags/tag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C827CFD-C578-044F-80AF-72CC3F917FD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EDA46D-1EF5-864B-B401-6F7244C3E3F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275296-D853-914F-BA08-3B2B842AA0AD}" type="datetimeFigureOut">
              <a:rPr lang="en-US" smtClean="0"/>
              <a:t>12/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310CAD-A2DD-C14D-9707-AC8040D55BF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3E2976-2336-554C-BD4C-A52C7FA25B5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7F18D0-BABE-4B4F-807D-62B2865B3C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27546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6B1EBC-CC10-48DB-87BF-4C9C725FD414}" type="slidenum">
              <a:rPr lang="en-US" smtClean="0"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81765104-0D1E-43D4-BD18-D12D67B6B16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982704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defTabSz="609559" rtl="0" eaLnBrk="1" fontAlgn="auto" latinLnBrk="0" hangingPunct="1">
      <a:lnSpc>
        <a:spcPct val="100000"/>
      </a:lnSpc>
      <a:spcBef>
        <a:spcPts val="1067"/>
      </a:spcBef>
      <a:spcAft>
        <a:spcPts val="267"/>
      </a:spcAft>
      <a:buClrTx/>
      <a:buSzTx/>
      <a:buFontTx/>
      <a:buNone/>
      <a:tabLst/>
      <a:defRPr lang="en-US" sz="2133" kern="1200" noProof="0" dirty="0" smtClean="0">
        <a:solidFill>
          <a:schemeClr val="tx1"/>
        </a:solidFill>
        <a:latin typeface="+mn-lt"/>
        <a:ea typeface="+mn-ea"/>
        <a:cs typeface="+mn-cs"/>
      </a:defRPr>
    </a:lvl1pPr>
    <a:lvl2pPr marL="0" marR="0" indent="0" algn="l" defTabSz="609559" rtl="0" eaLnBrk="1" fontAlgn="auto" latinLnBrk="0" hangingPunct="1">
      <a:lnSpc>
        <a:spcPct val="100000"/>
      </a:lnSpc>
      <a:spcBef>
        <a:spcPts val="1067"/>
      </a:spcBef>
      <a:spcAft>
        <a:spcPts val="267"/>
      </a:spcAft>
      <a:buClrTx/>
      <a:buSzTx/>
      <a:buFontTx/>
      <a:buNone/>
      <a:tabLst/>
      <a:defRPr sz="1467" b="1" kern="1200" cap="all" baseline="0">
        <a:solidFill>
          <a:schemeClr val="tx1"/>
        </a:solidFill>
        <a:latin typeface="+mn-lt"/>
        <a:ea typeface="+mn-ea"/>
        <a:cs typeface="+mn-cs"/>
      </a:defRPr>
    </a:lvl2pPr>
    <a:lvl3pPr marL="0" marR="0" indent="0" algn="l" defTabSz="609559" rtl="0" eaLnBrk="1" fontAlgn="auto" latinLnBrk="0" hangingPunct="1">
      <a:lnSpc>
        <a:spcPct val="100000"/>
      </a:lnSpc>
      <a:spcBef>
        <a:spcPts val="0"/>
      </a:spcBef>
      <a:spcAft>
        <a:spcPts val="533"/>
      </a:spcAft>
      <a:buClrTx/>
      <a:buSzTx/>
      <a:buFontTx/>
      <a:buNone/>
      <a:tabLst/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74082" marR="0" indent="-74082" algn="l" defTabSz="609559" rtl="0" eaLnBrk="1" fontAlgn="auto" latinLnBrk="0" hangingPunct="1">
      <a:lnSpc>
        <a:spcPct val="100000"/>
      </a:lnSpc>
      <a:spcBef>
        <a:spcPts val="0"/>
      </a:spcBef>
      <a:spcAft>
        <a:spcPts val="533"/>
      </a:spcAft>
      <a:buClr>
        <a:srgbClr val="F26924"/>
      </a:buClr>
      <a:buSzTx/>
      <a:buFont typeface="Arial" panose="020B0604020202020204" pitchFamily="34" charset="0"/>
      <a:buChar char="•"/>
      <a:tabLst/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28594" marR="0" indent="-152396" algn="l" defTabSz="609559" rtl="0" eaLnBrk="1" fontAlgn="auto" latinLnBrk="0" hangingPunct="1">
      <a:lnSpc>
        <a:spcPct val="100000"/>
      </a:lnSpc>
      <a:spcBef>
        <a:spcPts val="0"/>
      </a:spcBef>
      <a:spcAft>
        <a:spcPts val="533"/>
      </a:spcAft>
      <a:buClr>
        <a:srgbClr val="5F5F5F"/>
      </a:buClr>
      <a:buSzTx/>
      <a:buFont typeface="Arial" panose="020B0604020202020204" pitchFamily="34" charset="0"/>
      <a:buChar char="–"/>
      <a:tabLst/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6B1EBC-CC10-48DB-87BF-4C9C725FD41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0871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6B1EBC-CC10-48DB-87BF-4C9C725FD41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79130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6B1EBC-CC10-48DB-87BF-4C9C725FD41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349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6B1EBC-CC10-48DB-87BF-4C9C725FD41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89784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1615053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21677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2842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62162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095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6B1EBC-CC10-48DB-87BF-4C9C725FD41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03851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6B1EBC-CC10-48DB-87BF-4C9C725FD414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60523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Relationship Id="rId4" Type="http://schemas.openxmlformats.org/officeDocument/2006/relationships/image" Target="../media/image5.png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image" Target="../media/image6.png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.xml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7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-divider+questions-slide_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FFF82D-370F-D746-A4FA-23A8D59237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Section title">
            <a:extLst>
              <a:ext uri="{FF2B5EF4-FFF2-40B4-BE49-F238E27FC236}">
                <a16:creationId xmlns:a16="http://schemas.microsoft.com/office/drawing/2014/main" id="{0AB29E21-D7F7-4544-B708-4EF94DAEC2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2" y="1600200"/>
            <a:ext cx="11585448" cy="1499616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609555" rtl="0" eaLnBrk="1" fontAlgn="auto" latinLnBrk="0" hangingPunct="1">
              <a:lnSpc>
                <a:spcPct val="87000"/>
              </a:lnSpc>
              <a:spcBef>
                <a:spcPts val="10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 sz="6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80024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-agenda-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FFF82D-370F-D746-A4FA-23A8D59237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Section title">
            <a:extLst>
              <a:ext uri="{FF2B5EF4-FFF2-40B4-BE49-F238E27FC236}">
                <a16:creationId xmlns:a16="http://schemas.microsoft.com/office/drawing/2014/main" id="{0AB29E21-D7F7-4544-B708-4EF94DAEC2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2" y="868680"/>
            <a:ext cx="11585448" cy="1499616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7000"/>
              </a:lnSpc>
              <a:defRPr sz="6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ection-1">
            <a:extLst>
              <a:ext uri="{FF2B5EF4-FFF2-40B4-BE49-F238E27FC236}">
                <a16:creationId xmlns:a16="http://schemas.microsoft.com/office/drawing/2014/main" id="{96FE0146-0E38-554F-9C80-30E69B9971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07975" y="4401084"/>
            <a:ext cx="3730752" cy="153619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000" b="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1800" b="0" cap="none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Title of section</a:t>
            </a:r>
          </a:p>
          <a:p>
            <a:pPr lvl="1"/>
            <a:r>
              <a:rPr lang="en-US" dirty="0"/>
              <a:t>Smaller title of section</a:t>
            </a:r>
          </a:p>
        </p:txBody>
      </p:sp>
      <p:sp>
        <p:nvSpPr>
          <p:cNvPr id="20" name="Chunky-number-1">
            <a:extLst>
              <a:ext uri="{FF2B5EF4-FFF2-40B4-BE49-F238E27FC236}">
                <a16:creationId xmlns:a16="http://schemas.microsoft.com/office/drawing/2014/main" id="{42A387A4-A164-B94C-A2AC-D6661CD03F78}"/>
              </a:ext>
            </a:extLst>
          </p:cNvPr>
          <p:cNvSpPr/>
          <p:nvPr userDrawn="1"/>
        </p:nvSpPr>
        <p:spPr>
          <a:xfrm>
            <a:off x="191925" y="2846904"/>
            <a:ext cx="1903575" cy="1692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/>
          <a:p>
            <a:pPr defTabSz="685766"/>
            <a:r>
              <a:rPr lang="en-US" sz="1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6" name="Section-2">
            <a:extLst>
              <a:ext uri="{FF2B5EF4-FFF2-40B4-BE49-F238E27FC236}">
                <a16:creationId xmlns:a16="http://schemas.microsoft.com/office/drawing/2014/main" id="{D8E33AB1-7AE1-E540-9108-EC828A5C985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31394" y="4401085"/>
            <a:ext cx="3730752" cy="153619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000" b="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1800" b="0" cap="none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Title of section</a:t>
            </a:r>
          </a:p>
          <a:p>
            <a:pPr lvl="1"/>
            <a:r>
              <a:rPr lang="en-US" dirty="0"/>
              <a:t>Smaller title of section</a:t>
            </a:r>
          </a:p>
        </p:txBody>
      </p:sp>
      <p:sp>
        <p:nvSpPr>
          <p:cNvPr id="23" name="Chunky-number-2">
            <a:extLst>
              <a:ext uri="{FF2B5EF4-FFF2-40B4-BE49-F238E27FC236}">
                <a16:creationId xmlns:a16="http://schemas.microsoft.com/office/drawing/2014/main" id="{E993C4EA-9DB0-734F-8B57-D6AE8F423E3D}"/>
              </a:ext>
            </a:extLst>
          </p:cNvPr>
          <p:cNvSpPr/>
          <p:nvPr userDrawn="1"/>
        </p:nvSpPr>
        <p:spPr>
          <a:xfrm>
            <a:off x="4231394" y="2846904"/>
            <a:ext cx="1903575" cy="1692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/>
          <a:p>
            <a:pPr defTabSz="685766"/>
            <a:r>
              <a:rPr lang="en-US" sz="1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7" name="Section-3">
            <a:extLst>
              <a:ext uri="{FF2B5EF4-FFF2-40B4-BE49-F238E27FC236}">
                <a16:creationId xmlns:a16="http://schemas.microsoft.com/office/drawing/2014/main" id="{B9DE12DB-EDD8-974A-9AEA-E51FDB9CB4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54812" y="4401084"/>
            <a:ext cx="3730752" cy="153619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000" b="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1800" b="0" cap="none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Title of section</a:t>
            </a:r>
          </a:p>
          <a:p>
            <a:pPr lvl="1"/>
            <a:r>
              <a:rPr lang="en-US" dirty="0"/>
              <a:t>Smaller title of section</a:t>
            </a:r>
          </a:p>
        </p:txBody>
      </p:sp>
      <p:sp>
        <p:nvSpPr>
          <p:cNvPr id="24" name="Chunky-number-3">
            <a:extLst>
              <a:ext uri="{FF2B5EF4-FFF2-40B4-BE49-F238E27FC236}">
                <a16:creationId xmlns:a16="http://schemas.microsoft.com/office/drawing/2014/main" id="{16C70410-9972-6F4D-8884-371D99E18E38}"/>
              </a:ext>
            </a:extLst>
          </p:cNvPr>
          <p:cNvSpPr/>
          <p:nvPr userDrawn="1"/>
        </p:nvSpPr>
        <p:spPr>
          <a:xfrm>
            <a:off x="8166101" y="2846904"/>
            <a:ext cx="1903575" cy="1692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/>
          <a:p>
            <a:pPr defTabSz="685766"/>
            <a:r>
              <a:rPr lang="en-US" sz="11000" b="1" dirty="0">
                <a:solidFill>
                  <a:schemeClr val="tx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67905515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lumn-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A50DC8-5359-1546-8C4C-8C82C12AA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E7780BC-407E-2649-942A-916BC2B0CA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Subhead">
            <a:extLst>
              <a:ext uri="{FF2B5EF4-FFF2-40B4-BE49-F238E27FC236}">
                <a16:creationId xmlns:a16="http://schemas.microsoft.com/office/drawing/2014/main" id="{0CCF0C6D-1A43-7B44-9B13-A11188AD68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2" y="1280160"/>
            <a:ext cx="11603736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Right content placeholder">
            <a:extLst>
              <a:ext uri="{FF2B5EF4-FFF2-40B4-BE49-F238E27FC236}">
                <a16:creationId xmlns:a16="http://schemas.microsoft.com/office/drawing/2014/main" id="{C0E1580D-59C8-9847-A3D5-17D37C5BEC2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1752" y="1737360"/>
            <a:ext cx="57150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Footnotes or source">
            <a:extLst>
              <a:ext uri="{FF2B5EF4-FFF2-40B4-BE49-F238E27FC236}">
                <a16:creationId xmlns:a16="http://schemas.microsoft.com/office/drawing/2014/main" id="{FB82E3A6-52E7-474C-9A10-B758D0B419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6" indent="-118866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697E8CB-5034-B74B-90A5-2455FE44025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72200" y="1737360"/>
            <a:ext cx="57150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2110295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os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D31A6AF2-5E57-1B45-96DE-4558E28909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FA34FA3-6CA4-144F-B9EA-57F1F4681E4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1280160"/>
            <a:ext cx="11582400" cy="5129213"/>
          </a:xfrm>
        </p:spPr>
        <p:txBody>
          <a:bodyPr/>
          <a:lstStyle>
            <a:lvl1pPr>
              <a:defRPr sz="1200" b="0" i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6" indent="-118866"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200" b="0" i="0" cap="none" baseline="0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>
              <a:spcBef>
                <a:spcPts val="2000"/>
              </a:spcBef>
              <a:spcAft>
                <a:spcPts val="0"/>
              </a:spcAft>
              <a:defRPr sz="1600" b="1" cap="all" baseline="0"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buNone/>
              <a:tabLst/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3A65A8AF-6001-B745-B55F-B442165EB3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508061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C59FC182-812F-4948-A8A4-06F7421F68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Center content placeholder">
            <a:extLst>
              <a:ext uri="{FF2B5EF4-FFF2-40B4-BE49-F238E27FC236}">
                <a16:creationId xmlns:a16="http://schemas.microsoft.com/office/drawing/2014/main" id="{3020EBA3-5E07-6049-88CA-B5472C3B9B0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67200" y="1280160"/>
            <a:ext cx="36576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Left content placeholder">
            <a:extLst>
              <a:ext uri="{FF2B5EF4-FFF2-40B4-BE49-F238E27FC236}">
                <a16:creationId xmlns:a16="http://schemas.microsoft.com/office/drawing/2014/main" id="{8E0377EE-5CCC-C340-98CD-E9CDC9C5D64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04800" y="1280160"/>
            <a:ext cx="36576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notes or source">
            <a:extLst>
              <a:ext uri="{FF2B5EF4-FFF2-40B4-BE49-F238E27FC236}">
                <a16:creationId xmlns:a16="http://schemas.microsoft.com/office/drawing/2014/main" id="{F5215A33-0067-2D40-BBAE-3B4519A6EB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6" indent="-118866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A392300C-C5A2-C645-AD76-B2A060DAA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Right content placeholder">
            <a:extLst>
              <a:ext uri="{FF2B5EF4-FFF2-40B4-BE49-F238E27FC236}">
                <a16:creationId xmlns:a16="http://schemas.microsoft.com/office/drawing/2014/main" id="{9B0D9352-176F-4245-B2E3-2C9390BC6A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29600" y="1280160"/>
            <a:ext cx="36576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84180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-column-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382B0-0B2B-5848-8036-F3F2ED6F72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110950-8756-0E48-AD9C-404B7F8E158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ootnotes or source">
            <a:extLst>
              <a:ext uri="{FF2B5EF4-FFF2-40B4-BE49-F238E27FC236}">
                <a16:creationId xmlns:a16="http://schemas.microsoft.com/office/drawing/2014/main" id="{1D1440A0-AB7B-7B41-9342-7B9625AE6D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6" indent="-118866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Left subhead">
            <a:extLst>
              <a:ext uri="{FF2B5EF4-FFF2-40B4-BE49-F238E27FC236}">
                <a16:creationId xmlns:a16="http://schemas.microsoft.com/office/drawing/2014/main" id="{C2947F76-5370-914D-93EF-77EAD0E4D4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1280160"/>
            <a:ext cx="36576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enter subhead">
            <a:extLst>
              <a:ext uri="{FF2B5EF4-FFF2-40B4-BE49-F238E27FC236}">
                <a16:creationId xmlns:a16="http://schemas.microsoft.com/office/drawing/2014/main" id="{6300A2F1-1713-2040-8AA5-9DCC9EEACE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67200" y="1280160"/>
            <a:ext cx="36576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Right subhead">
            <a:extLst>
              <a:ext uri="{FF2B5EF4-FFF2-40B4-BE49-F238E27FC236}">
                <a16:creationId xmlns:a16="http://schemas.microsoft.com/office/drawing/2014/main" id="{6DFCDA5B-4FAE-1741-98C0-0D6B0D1A2C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9600" y="1280160"/>
            <a:ext cx="36576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Left content placeholder">
            <a:extLst>
              <a:ext uri="{FF2B5EF4-FFF2-40B4-BE49-F238E27FC236}">
                <a16:creationId xmlns:a16="http://schemas.microsoft.com/office/drawing/2014/main" id="{16518879-AA98-1641-8DC0-C3BEA167F5E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04800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enter content placeholder">
            <a:extLst>
              <a:ext uri="{FF2B5EF4-FFF2-40B4-BE49-F238E27FC236}">
                <a16:creationId xmlns:a16="http://schemas.microsoft.com/office/drawing/2014/main" id="{BCD6FFB8-0B83-EC4F-A2F0-C205D64B5C5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267200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Right content placeholder">
            <a:extLst>
              <a:ext uri="{FF2B5EF4-FFF2-40B4-BE49-F238E27FC236}">
                <a16:creationId xmlns:a16="http://schemas.microsoft.com/office/drawing/2014/main" id="{640F384C-2913-3940-AD02-B57819DA95A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229600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980392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-column-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D1FC5C-F0FA-4149-ACAF-1D23E4B7E9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1F095AE-5F5B-674B-9C69-F109A1070F9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ootnotes or source">
            <a:extLst>
              <a:ext uri="{FF2B5EF4-FFF2-40B4-BE49-F238E27FC236}">
                <a16:creationId xmlns:a16="http://schemas.microsoft.com/office/drawing/2014/main" id="{A89C7DBD-9459-B74D-BF3C-5803BE05F56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6" indent="-118866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ubhead">
            <a:extLst>
              <a:ext uri="{FF2B5EF4-FFF2-40B4-BE49-F238E27FC236}">
                <a16:creationId xmlns:a16="http://schemas.microsoft.com/office/drawing/2014/main" id="{E26904AC-13F7-054C-89E2-938B6AFBFA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1752" y="1280160"/>
            <a:ext cx="11585448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Left content placeholder">
            <a:extLst>
              <a:ext uri="{FF2B5EF4-FFF2-40B4-BE49-F238E27FC236}">
                <a16:creationId xmlns:a16="http://schemas.microsoft.com/office/drawing/2014/main" id="{FC55EB2B-6BCB-AA44-90EA-AACC4472181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01752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enter content placeholder">
            <a:extLst>
              <a:ext uri="{FF2B5EF4-FFF2-40B4-BE49-F238E27FC236}">
                <a16:creationId xmlns:a16="http://schemas.microsoft.com/office/drawing/2014/main" id="{5B734D07-C029-714D-88BC-2BD9E017839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265676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ight content placeholder">
            <a:extLst>
              <a:ext uri="{FF2B5EF4-FFF2-40B4-BE49-F238E27FC236}">
                <a16:creationId xmlns:a16="http://schemas.microsoft.com/office/drawing/2014/main" id="{BE77EBC8-92AF-2047-9CCA-C475702A717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29600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060457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-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1C889E-571E-7D4A-8DE8-201E16D5F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7FE29D-459F-CC40-84A4-87E8C1F136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ootnotes or source">
            <a:extLst>
              <a:ext uri="{FF2B5EF4-FFF2-40B4-BE49-F238E27FC236}">
                <a16:creationId xmlns:a16="http://schemas.microsoft.com/office/drawing/2014/main" id="{C5495C87-5455-7342-9158-84E948B63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6" indent="-118866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op left subhead">
            <a:extLst>
              <a:ext uri="{FF2B5EF4-FFF2-40B4-BE49-F238E27FC236}">
                <a16:creationId xmlns:a16="http://schemas.microsoft.com/office/drawing/2014/main" id="{789677A3-7A85-904B-95F1-0B09C4921C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1280160"/>
            <a:ext cx="57150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op right subhead">
            <a:extLst>
              <a:ext uri="{FF2B5EF4-FFF2-40B4-BE49-F238E27FC236}">
                <a16:creationId xmlns:a16="http://schemas.microsoft.com/office/drawing/2014/main" id="{4994A87C-7020-624C-9C30-4CBBCF35A5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72200" y="1280160"/>
            <a:ext cx="57150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Bottom left subhead">
            <a:extLst>
              <a:ext uri="{FF2B5EF4-FFF2-40B4-BE49-F238E27FC236}">
                <a16:creationId xmlns:a16="http://schemas.microsoft.com/office/drawing/2014/main" id="{4F31C991-478D-5A4C-8B25-3481D35319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3636819"/>
            <a:ext cx="57150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Bottom right subhead">
            <a:extLst>
              <a:ext uri="{FF2B5EF4-FFF2-40B4-BE49-F238E27FC236}">
                <a16:creationId xmlns:a16="http://schemas.microsoft.com/office/drawing/2014/main" id="{83A468F3-D0EF-3D40-ABA2-40126D955E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72200" y="3636819"/>
            <a:ext cx="57150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op left content placeholder">
            <a:extLst>
              <a:ext uri="{FF2B5EF4-FFF2-40B4-BE49-F238E27FC236}">
                <a16:creationId xmlns:a16="http://schemas.microsoft.com/office/drawing/2014/main" id="{C5C75857-6908-EC48-BD0B-C345F186CCE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04800" y="1737360"/>
            <a:ext cx="5715000" cy="16824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op right content placeholder">
            <a:extLst>
              <a:ext uri="{FF2B5EF4-FFF2-40B4-BE49-F238E27FC236}">
                <a16:creationId xmlns:a16="http://schemas.microsoft.com/office/drawing/2014/main" id="{223B08B0-B078-7345-BFFF-9245EAAB7A6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72200" y="1737360"/>
            <a:ext cx="5715000" cy="16824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Bottom left content placeholder">
            <a:extLst>
              <a:ext uri="{FF2B5EF4-FFF2-40B4-BE49-F238E27FC236}">
                <a16:creationId xmlns:a16="http://schemas.microsoft.com/office/drawing/2014/main" id="{2E45EAB5-8BCA-044F-9D5B-9FD8315F0D7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04800" y="4119401"/>
            <a:ext cx="5715000" cy="16824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Bottom right content placeholder">
            <a:extLst>
              <a:ext uri="{FF2B5EF4-FFF2-40B4-BE49-F238E27FC236}">
                <a16:creationId xmlns:a16="http://schemas.microsoft.com/office/drawing/2014/main" id="{AEB0F400-5157-C648-AF32-A6BC0A9A5380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75377" y="4119401"/>
            <a:ext cx="5711825" cy="16824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969792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thirds-one-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D76D7C-F546-434F-BC32-6664DE764B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304800"/>
            <a:ext cx="11582400" cy="82905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034EE0-E276-4846-9EBB-792D1E3B5C4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wo-thirds">
            <a:extLst>
              <a:ext uri="{FF2B5EF4-FFF2-40B4-BE49-F238E27FC236}">
                <a16:creationId xmlns:a16="http://schemas.microsoft.com/office/drawing/2014/main" id="{2307E025-F984-B547-B8FE-4DFD8D278C7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04800" y="1280160"/>
            <a:ext cx="73152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notes or source">
            <a:extLst>
              <a:ext uri="{FF2B5EF4-FFF2-40B4-BE49-F238E27FC236}">
                <a16:creationId xmlns:a16="http://schemas.microsoft.com/office/drawing/2014/main" id="{19111FEC-5E95-154F-AD6E-0AB8CF8CFE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6" indent="-118866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one-third">
            <a:extLst>
              <a:ext uri="{FF2B5EF4-FFF2-40B4-BE49-F238E27FC236}">
                <a16:creationId xmlns:a16="http://schemas.microsoft.com/office/drawing/2014/main" id="{A4C4C8B2-407B-FC41-8F6C-EAEA35958D9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992931" y="1280160"/>
            <a:ext cx="38862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002537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thirds-one-third-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8334B2-B6CC-4E4B-AA70-37222D9BC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ACA5E4-4D2A-A74C-867C-7FE8FBD228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Subhead">
            <a:extLst>
              <a:ext uri="{FF2B5EF4-FFF2-40B4-BE49-F238E27FC236}">
                <a16:creationId xmlns:a16="http://schemas.microsoft.com/office/drawing/2014/main" id="{48ACD544-818F-FF4C-B914-F51EB64D062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2" y="1280160"/>
            <a:ext cx="11585448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wo-thirds">
            <a:extLst>
              <a:ext uri="{FF2B5EF4-FFF2-40B4-BE49-F238E27FC236}">
                <a16:creationId xmlns:a16="http://schemas.microsoft.com/office/drawing/2014/main" id="{E7DA6189-54EE-8C42-9D91-426B6022325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98451" y="1737360"/>
            <a:ext cx="73152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one-third">
            <a:extLst>
              <a:ext uri="{FF2B5EF4-FFF2-40B4-BE49-F238E27FC236}">
                <a16:creationId xmlns:a16="http://schemas.microsoft.com/office/drawing/2014/main" id="{9440345A-4A21-054A-A0DF-803C4368DBC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024145" y="1737360"/>
            <a:ext cx="38862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notes or source">
            <a:extLst>
              <a:ext uri="{FF2B5EF4-FFF2-40B4-BE49-F238E27FC236}">
                <a16:creationId xmlns:a16="http://schemas.microsoft.com/office/drawing/2014/main" id="{342FD89A-EBB3-F646-9AA2-A2F24E8D7F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6" indent="-118866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8576501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5BCD3-73BA-4B4E-9EF1-EC3DA83876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49F419-CCB6-1B42-9B81-974A6973C6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ootnotes or source">
            <a:extLst>
              <a:ext uri="{FF2B5EF4-FFF2-40B4-BE49-F238E27FC236}">
                <a16:creationId xmlns:a16="http://schemas.microsoft.com/office/drawing/2014/main" id="{60C66321-19D3-D443-AF24-CDD6909001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6" indent="-118866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2197450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3E326F-9FAA-754E-A228-EA0A6E74CE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ootnotes or source">
            <a:extLst>
              <a:ext uri="{FF2B5EF4-FFF2-40B4-BE49-F238E27FC236}">
                <a16:creationId xmlns:a16="http://schemas.microsoft.com/office/drawing/2014/main" id="{822FE04D-686B-AA46-A1D1-98A22AB5F2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6" indent="-118866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250277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-section-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FFF82D-370F-D746-A4FA-23A8D59237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Section-1">
            <a:extLst>
              <a:ext uri="{FF2B5EF4-FFF2-40B4-BE49-F238E27FC236}">
                <a16:creationId xmlns:a16="http://schemas.microsoft.com/office/drawing/2014/main" id="{96FE0146-0E38-554F-9C80-30E69B9971C6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307975" y="4401085"/>
            <a:ext cx="2715768" cy="1540111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000" b="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1800" b="0" cap="none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Title of section</a:t>
            </a:r>
          </a:p>
          <a:p>
            <a:pPr lvl="1"/>
            <a:r>
              <a:rPr lang="en-US" dirty="0"/>
              <a:t>Smaller title of section</a:t>
            </a:r>
          </a:p>
        </p:txBody>
      </p:sp>
      <p:sp>
        <p:nvSpPr>
          <p:cNvPr id="20" name="Chunky-number-1">
            <a:extLst>
              <a:ext uri="{FF2B5EF4-FFF2-40B4-BE49-F238E27FC236}">
                <a16:creationId xmlns:a16="http://schemas.microsoft.com/office/drawing/2014/main" id="{42A387A4-A164-B94C-A2AC-D6661CD03F78}"/>
              </a:ext>
            </a:extLst>
          </p:cNvPr>
          <p:cNvSpPr/>
          <p:nvPr userDrawn="1"/>
        </p:nvSpPr>
        <p:spPr>
          <a:xfrm>
            <a:off x="191925" y="2846904"/>
            <a:ext cx="1903575" cy="1692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/>
          <a:p>
            <a:pPr defTabSz="685766"/>
            <a:r>
              <a:rPr lang="en-US" sz="1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6" name="Section-2">
            <a:extLst>
              <a:ext uri="{FF2B5EF4-FFF2-40B4-BE49-F238E27FC236}">
                <a16:creationId xmlns:a16="http://schemas.microsoft.com/office/drawing/2014/main" id="{D8E33AB1-7AE1-E540-9108-EC828A5C9853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3276600" y="4401085"/>
            <a:ext cx="2715768" cy="1540111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000" b="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1800" b="0" cap="none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Title of section</a:t>
            </a:r>
          </a:p>
          <a:p>
            <a:pPr lvl="1"/>
            <a:r>
              <a:rPr lang="en-US" dirty="0"/>
              <a:t>Smaller title of section</a:t>
            </a:r>
          </a:p>
        </p:txBody>
      </p:sp>
      <p:sp>
        <p:nvSpPr>
          <p:cNvPr id="23" name="Chunky-number-2">
            <a:extLst>
              <a:ext uri="{FF2B5EF4-FFF2-40B4-BE49-F238E27FC236}">
                <a16:creationId xmlns:a16="http://schemas.microsoft.com/office/drawing/2014/main" id="{E993C4EA-9DB0-734F-8B57-D6AE8F423E3D}"/>
              </a:ext>
            </a:extLst>
          </p:cNvPr>
          <p:cNvSpPr/>
          <p:nvPr userDrawn="1"/>
        </p:nvSpPr>
        <p:spPr>
          <a:xfrm>
            <a:off x="3276600" y="2846904"/>
            <a:ext cx="1903575" cy="1692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/>
          <a:p>
            <a:pPr defTabSz="685766"/>
            <a:r>
              <a:rPr lang="en-US" sz="1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7" name="Section-3">
            <a:extLst>
              <a:ext uri="{FF2B5EF4-FFF2-40B4-BE49-F238E27FC236}">
                <a16:creationId xmlns:a16="http://schemas.microsoft.com/office/drawing/2014/main" id="{B9DE12DB-EDD8-974A-9AEA-E51FDB9CB4CC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6235700" y="4401085"/>
            <a:ext cx="2715768" cy="1540111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000" b="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1800" b="0" cap="none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Title of section</a:t>
            </a:r>
          </a:p>
          <a:p>
            <a:pPr lvl="1"/>
            <a:r>
              <a:rPr lang="en-US" dirty="0"/>
              <a:t>Smaller title of section</a:t>
            </a:r>
          </a:p>
        </p:txBody>
      </p:sp>
      <p:sp>
        <p:nvSpPr>
          <p:cNvPr id="24" name="Chunky-number-3">
            <a:extLst>
              <a:ext uri="{FF2B5EF4-FFF2-40B4-BE49-F238E27FC236}">
                <a16:creationId xmlns:a16="http://schemas.microsoft.com/office/drawing/2014/main" id="{16C70410-9972-6F4D-8884-371D99E18E38}"/>
              </a:ext>
            </a:extLst>
          </p:cNvPr>
          <p:cNvSpPr/>
          <p:nvPr userDrawn="1"/>
        </p:nvSpPr>
        <p:spPr>
          <a:xfrm>
            <a:off x="6235700" y="2846904"/>
            <a:ext cx="1903575" cy="1692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/>
          <a:p>
            <a:pPr defTabSz="685766"/>
            <a:r>
              <a:rPr lang="en-US" sz="1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8" name="Section-4">
            <a:extLst>
              <a:ext uri="{FF2B5EF4-FFF2-40B4-BE49-F238E27FC236}">
                <a16:creationId xmlns:a16="http://schemas.microsoft.com/office/drawing/2014/main" id="{68DFF7D7-1335-A04A-8DC6-C594575D3617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9182100" y="4401085"/>
            <a:ext cx="2715768" cy="1540111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000" b="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1800" b="0" cap="none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Title of section</a:t>
            </a:r>
          </a:p>
          <a:p>
            <a:pPr lvl="1"/>
            <a:r>
              <a:rPr lang="en-US" dirty="0"/>
              <a:t>Smaller title of section</a:t>
            </a:r>
          </a:p>
        </p:txBody>
      </p:sp>
      <p:sp>
        <p:nvSpPr>
          <p:cNvPr id="25" name="Chunky-number-4">
            <a:extLst>
              <a:ext uri="{FF2B5EF4-FFF2-40B4-BE49-F238E27FC236}">
                <a16:creationId xmlns:a16="http://schemas.microsoft.com/office/drawing/2014/main" id="{EDBCE587-7EE3-6E4C-B2AE-214349C2C50A}"/>
              </a:ext>
            </a:extLst>
          </p:cNvPr>
          <p:cNvSpPr/>
          <p:nvPr userDrawn="1"/>
        </p:nvSpPr>
        <p:spPr>
          <a:xfrm>
            <a:off x="9182100" y="2846904"/>
            <a:ext cx="1903575" cy="1692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/>
          <a:p>
            <a:pPr defTabSz="685766"/>
            <a:r>
              <a:rPr lang="en-US" sz="110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13" name="Section-mask-1">
            <a:extLst>
              <a:ext uri="{FF2B5EF4-FFF2-40B4-BE49-F238E27FC236}">
                <a16:creationId xmlns:a16="http://schemas.microsoft.com/office/drawing/2014/main" id="{4C7BCD88-5201-CF42-BF3C-ED747E276E7B}"/>
              </a:ext>
            </a:extLst>
          </p:cNvPr>
          <p:cNvSpPr/>
          <p:nvPr userDrawn="1"/>
        </p:nvSpPr>
        <p:spPr>
          <a:xfrm>
            <a:off x="0" y="7213600"/>
            <a:ext cx="5943600" cy="660400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4" name="Section-mask-2">
            <a:extLst>
              <a:ext uri="{FF2B5EF4-FFF2-40B4-BE49-F238E27FC236}">
                <a16:creationId xmlns:a16="http://schemas.microsoft.com/office/drawing/2014/main" id="{9C6B6884-132C-5742-AED7-2DEEA6FFE540}"/>
              </a:ext>
            </a:extLst>
          </p:cNvPr>
          <p:cNvSpPr/>
          <p:nvPr userDrawn="1"/>
        </p:nvSpPr>
        <p:spPr>
          <a:xfrm>
            <a:off x="8915400" y="7213600"/>
            <a:ext cx="3276600" cy="660400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232712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-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esentation title">
            <a:extLst>
              <a:ext uri="{FF2B5EF4-FFF2-40B4-BE49-F238E27FC236}">
                <a16:creationId xmlns:a16="http://schemas.microsoft.com/office/drawing/2014/main" id="{C8A38BA2-F1A3-D44C-97C6-9C453D5050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880360"/>
            <a:ext cx="11582400" cy="830997"/>
          </a:xfrm>
        </p:spPr>
        <p:txBody>
          <a:bodyPr>
            <a:spAutoFit/>
          </a:bodyPr>
          <a:lstStyle>
            <a:lvl1pPr>
              <a:lnSpc>
                <a:spcPct val="87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04B1E7F7-EFC6-CD44-AA19-B41F7657D7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Subtitle or name of presenter">
            <a:extLst>
              <a:ext uri="{FF2B5EF4-FFF2-40B4-BE49-F238E27FC236}">
                <a16:creationId xmlns:a16="http://schemas.microsoft.com/office/drawing/2014/main" id="{DBFA04A7-365B-334F-AF7E-F9202BC433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3" y="3892892"/>
            <a:ext cx="7760580" cy="307776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Date placeholder">
            <a:extLst>
              <a:ext uri="{FF2B5EF4-FFF2-40B4-BE49-F238E27FC236}">
                <a16:creationId xmlns:a16="http://schemas.microsoft.com/office/drawing/2014/main" id="{23946FD1-793E-6A45-9987-8443E3E102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71466" y="3939057"/>
            <a:ext cx="3712687" cy="261611"/>
          </a:xfrm>
        </p:spPr>
        <p:txBody>
          <a:bodyPr wrap="square" anchor="b">
            <a:spAutoFit/>
          </a:bodyPr>
          <a:lstStyle>
            <a:lvl1pPr algn="r">
              <a:defRPr sz="1700" b="1" cap="all" baseline="0">
                <a:solidFill>
                  <a:schemeClr val="accent4"/>
                </a:solidFill>
              </a:defRPr>
            </a:lvl1pPr>
            <a:lvl2pPr algn="r"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FS-logo">
            <a:extLst>
              <a:ext uri="{FF2B5EF4-FFF2-40B4-BE49-F238E27FC236}">
                <a16:creationId xmlns:a16="http://schemas.microsoft.com/office/drawing/2014/main" id="{C889D9D3-0468-1049-81C8-A6D513A7426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12275" cy="16002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5698705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28BE79BD-79B9-3F46-A895-F988891529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One-column placeholder">
            <a:extLst>
              <a:ext uri="{FF2B5EF4-FFF2-40B4-BE49-F238E27FC236}">
                <a16:creationId xmlns:a16="http://schemas.microsoft.com/office/drawing/2014/main" id="{4AC2727B-E6D9-134E-8ADF-A4826675688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01754" y="1280160"/>
            <a:ext cx="11585575" cy="4572000"/>
          </a:xfrm>
        </p:spPr>
        <p:txBody>
          <a:bodyPr/>
          <a:lstStyle>
            <a:lvl2pPr>
              <a:lnSpc>
                <a:spcPct val="92000"/>
              </a:lnSpc>
              <a:spcBef>
                <a:spcPts val="400"/>
              </a:spcBef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notes or source">
            <a:extLst>
              <a:ext uri="{FF2B5EF4-FFF2-40B4-BE49-F238E27FC236}">
                <a16:creationId xmlns:a16="http://schemas.microsoft.com/office/drawing/2014/main" id="{AEBE4842-989F-3F4A-BD20-AF5820F397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9" indent="-118869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72C22BEF-E9EC-3247-9181-5C9177B2B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4386433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-column-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ne-column subhead">
            <a:extLst>
              <a:ext uri="{FF2B5EF4-FFF2-40B4-BE49-F238E27FC236}">
                <a16:creationId xmlns:a16="http://schemas.microsoft.com/office/drawing/2014/main" id="{7F98CD30-9A2E-4A49-8E01-F156C7C0A5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2" y="1280160"/>
            <a:ext cx="11585448" cy="365760"/>
          </a:xfrm>
        </p:spPr>
        <p:txBody>
          <a:bodyPr wrap="square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D8D15E5A-6B9F-2E48-A8F2-A35E85136B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One-column placeholder">
            <a:extLst>
              <a:ext uri="{FF2B5EF4-FFF2-40B4-BE49-F238E27FC236}">
                <a16:creationId xmlns:a16="http://schemas.microsoft.com/office/drawing/2014/main" id="{C3021731-334E-CD47-A48A-2F96680C778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1752" y="1737360"/>
            <a:ext cx="11585448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notes or source">
            <a:extLst>
              <a:ext uri="{FF2B5EF4-FFF2-40B4-BE49-F238E27FC236}">
                <a16:creationId xmlns:a16="http://schemas.microsoft.com/office/drawing/2014/main" id="{B79268D5-FDCB-6B45-B4D0-20E01F75F1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9" indent="-118869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36005B27-94D6-6D4B-B596-B49DEBB6BA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4385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28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0FB2CE31-8DD1-4841-9581-CEAA9A9BA5F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Right content placeholder">
            <a:extLst>
              <a:ext uri="{FF2B5EF4-FFF2-40B4-BE49-F238E27FC236}">
                <a16:creationId xmlns:a16="http://schemas.microsoft.com/office/drawing/2014/main" id="{BEBDBBE3-07B1-DD46-8A84-1F365037F7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01752" y="1280160"/>
            <a:ext cx="57150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Left content placeholder">
            <a:extLst>
              <a:ext uri="{FF2B5EF4-FFF2-40B4-BE49-F238E27FC236}">
                <a16:creationId xmlns:a16="http://schemas.microsoft.com/office/drawing/2014/main" id="{162772BE-D1F5-564F-A0E5-4433C1889B4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72200" y="1280160"/>
            <a:ext cx="57150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notes or source">
            <a:extLst>
              <a:ext uri="{FF2B5EF4-FFF2-40B4-BE49-F238E27FC236}">
                <a16:creationId xmlns:a16="http://schemas.microsoft.com/office/drawing/2014/main" id="{9B1839EE-C6EC-E040-88D5-F9875A7338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9" indent="-118869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74A33FDE-63DB-E246-96BF-9458DB6F07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4548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8">
          <p15:clr>
            <a:srgbClr val="FBAE40"/>
          </p15:clr>
        </p15:guide>
        <p15:guide id="2" pos="3792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lumn-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3B8F69B0-2DC7-F54B-8D92-29AA818936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Left content placeholder">
            <a:extLst>
              <a:ext uri="{FF2B5EF4-FFF2-40B4-BE49-F238E27FC236}">
                <a16:creationId xmlns:a16="http://schemas.microsoft.com/office/drawing/2014/main" id="{C214F381-465F-8E4A-8D89-8AE3BFA8A55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72200" y="1737360"/>
            <a:ext cx="57150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Right content placeholder">
            <a:extLst>
              <a:ext uri="{FF2B5EF4-FFF2-40B4-BE49-F238E27FC236}">
                <a16:creationId xmlns:a16="http://schemas.microsoft.com/office/drawing/2014/main" id="{871737ED-DD0A-C04D-A12B-F34BC71D1B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1753" y="1737360"/>
            <a:ext cx="5711825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notes or source">
            <a:extLst>
              <a:ext uri="{FF2B5EF4-FFF2-40B4-BE49-F238E27FC236}">
                <a16:creationId xmlns:a16="http://schemas.microsoft.com/office/drawing/2014/main" id="{C393E3FC-DE49-C442-BFAE-6022D06DA2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9" indent="-118869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Left subhead">
            <a:extLst>
              <a:ext uri="{FF2B5EF4-FFF2-40B4-BE49-F238E27FC236}">
                <a16:creationId xmlns:a16="http://schemas.microsoft.com/office/drawing/2014/main" id="{0D694C0C-C640-AA44-8A0B-13D281A27F73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04800" y="1280160"/>
            <a:ext cx="5715000" cy="365760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Right subhead">
            <a:extLst>
              <a:ext uri="{FF2B5EF4-FFF2-40B4-BE49-F238E27FC236}">
                <a16:creationId xmlns:a16="http://schemas.microsoft.com/office/drawing/2014/main" id="{A84D9522-E9B4-BE46-8B38-EC5855EA807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72200" y="1280160"/>
            <a:ext cx="57150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67ED532-92A1-124C-BB7A-A63781F60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465841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lumn-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A50DC8-5359-1546-8C4C-8C82C12AA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E7780BC-407E-2649-942A-916BC2B0CA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Subhead">
            <a:extLst>
              <a:ext uri="{FF2B5EF4-FFF2-40B4-BE49-F238E27FC236}">
                <a16:creationId xmlns:a16="http://schemas.microsoft.com/office/drawing/2014/main" id="{0CCF0C6D-1A43-7B44-9B13-A11188AD68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2" y="1280160"/>
            <a:ext cx="11603736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Right content placeholder">
            <a:extLst>
              <a:ext uri="{FF2B5EF4-FFF2-40B4-BE49-F238E27FC236}">
                <a16:creationId xmlns:a16="http://schemas.microsoft.com/office/drawing/2014/main" id="{C0E1580D-59C8-9847-A3D5-17D37C5BEC2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1752" y="1737360"/>
            <a:ext cx="57150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Footnotes or source">
            <a:extLst>
              <a:ext uri="{FF2B5EF4-FFF2-40B4-BE49-F238E27FC236}">
                <a16:creationId xmlns:a16="http://schemas.microsoft.com/office/drawing/2014/main" id="{FB82E3A6-52E7-474C-9A10-B758D0B419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9" indent="-118869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697E8CB-5034-B74B-90A5-2455FE44025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72200" y="1737360"/>
            <a:ext cx="57150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649104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os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D31A6AF2-5E57-1B45-96DE-4558E28909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FA34FA3-6CA4-144F-B9EA-57F1F4681E4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1280160"/>
            <a:ext cx="11582400" cy="5129213"/>
          </a:xfrm>
        </p:spPr>
        <p:txBody>
          <a:bodyPr/>
          <a:lstStyle>
            <a:lvl1pPr>
              <a:defRPr sz="1200" b="0" i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9" indent="-118869"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200" b="0" i="0" cap="none" baseline="0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>
              <a:spcBef>
                <a:spcPts val="2000"/>
              </a:spcBef>
              <a:spcAft>
                <a:spcPts val="0"/>
              </a:spcAft>
              <a:defRPr sz="1600" b="1" cap="all" baseline="0"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buNone/>
              <a:tabLst/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3A65A8AF-6001-B745-B55F-B442165EB3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953837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C59FC182-812F-4948-A8A4-06F7421F68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Center content placeholder">
            <a:extLst>
              <a:ext uri="{FF2B5EF4-FFF2-40B4-BE49-F238E27FC236}">
                <a16:creationId xmlns:a16="http://schemas.microsoft.com/office/drawing/2014/main" id="{3020EBA3-5E07-6049-88CA-B5472C3B9B0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67200" y="1280160"/>
            <a:ext cx="36576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Left content placeholder">
            <a:extLst>
              <a:ext uri="{FF2B5EF4-FFF2-40B4-BE49-F238E27FC236}">
                <a16:creationId xmlns:a16="http://schemas.microsoft.com/office/drawing/2014/main" id="{8E0377EE-5CCC-C340-98CD-E9CDC9C5D64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04800" y="1280160"/>
            <a:ext cx="36576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notes or source">
            <a:extLst>
              <a:ext uri="{FF2B5EF4-FFF2-40B4-BE49-F238E27FC236}">
                <a16:creationId xmlns:a16="http://schemas.microsoft.com/office/drawing/2014/main" id="{F5215A33-0067-2D40-BBAE-3B4519A6EB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9" indent="-118869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A392300C-C5A2-C645-AD76-B2A060DAA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Right content placeholder">
            <a:extLst>
              <a:ext uri="{FF2B5EF4-FFF2-40B4-BE49-F238E27FC236}">
                <a16:creationId xmlns:a16="http://schemas.microsoft.com/office/drawing/2014/main" id="{9B0D9352-176F-4245-B2E3-2C9390BC6A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29600" y="1280160"/>
            <a:ext cx="36576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456620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-column-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382B0-0B2B-5848-8036-F3F2ED6F72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110950-8756-0E48-AD9C-404B7F8E158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ootnotes or source">
            <a:extLst>
              <a:ext uri="{FF2B5EF4-FFF2-40B4-BE49-F238E27FC236}">
                <a16:creationId xmlns:a16="http://schemas.microsoft.com/office/drawing/2014/main" id="{1D1440A0-AB7B-7B41-9342-7B9625AE6D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9" indent="-118869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Left subhead">
            <a:extLst>
              <a:ext uri="{FF2B5EF4-FFF2-40B4-BE49-F238E27FC236}">
                <a16:creationId xmlns:a16="http://schemas.microsoft.com/office/drawing/2014/main" id="{C2947F76-5370-914D-93EF-77EAD0E4D4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1280160"/>
            <a:ext cx="36576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enter subhead">
            <a:extLst>
              <a:ext uri="{FF2B5EF4-FFF2-40B4-BE49-F238E27FC236}">
                <a16:creationId xmlns:a16="http://schemas.microsoft.com/office/drawing/2014/main" id="{6300A2F1-1713-2040-8AA5-9DCC9EEACE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67200" y="1280160"/>
            <a:ext cx="36576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Right subhead">
            <a:extLst>
              <a:ext uri="{FF2B5EF4-FFF2-40B4-BE49-F238E27FC236}">
                <a16:creationId xmlns:a16="http://schemas.microsoft.com/office/drawing/2014/main" id="{6DFCDA5B-4FAE-1741-98C0-0D6B0D1A2C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9600" y="1280160"/>
            <a:ext cx="36576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Left content placeholder">
            <a:extLst>
              <a:ext uri="{FF2B5EF4-FFF2-40B4-BE49-F238E27FC236}">
                <a16:creationId xmlns:a16="http://schemas.microsoft.com/office/drawing/2014/main" id="{16518879-AA98-1641-8DC0-C3BEA167F5E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04800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enter content placeholder">
            <a:extLst>
              <a:ext uri="{FF2B5EF4-FFF2-40B4-BE49-F238E27FC236}">
                <a16:creationId xmlns:a16="http://schemas.microsoft.com/office/drawing/2014/main" id="{BCD6FFB8-0B83-EC4F-A2F0-C205D64B5C5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267200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Right content placeholder">
            <a:extLst>
              <a:ext uri="{FF2B5EF4-FFF2-40B4-BE49-F238E27FC236}">
                <a16:creationId xmlns:a16="http://schemas.microsoft.com/office/drawing/2014/main" id="{640F384C-2913-3940-AD02-B57819DA95A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229600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377659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-column-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D1FC5C-F0FA-4149-ACAF-1D23E4B7E9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1F095AE-5F5B-674B-9C69-F109A1070F9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ootnotes or source">
            <a:extLst>
              <a:ext uri="{FF2B5EF4-FFF2-40B4-BE49-F238E27FC236}">
                <a16:creationId xmlns:a16="http://schemas.microsoft.com/office/drawing/2014/main" id="{A89C7DBD-9459-B74D-BF3C-5803BE05F56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9" indent="-118869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ubhead">
            <a:extLst>
              <a:ext uri="{FF2B5EF4-FFF2-40B4-BE49-F238E27FC236}">
                <a16:creationId xmlns:a16="http://schemas.microsoft.com/office/drawing/2014/main" id="{E26904AC-13F7-054C-89E2-938B6AFBFA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1752" y="1280160"/>
            <a:ext cx="11585448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Left content placeholder">
            <a:extLst>
              <a:ext uri="{FF2B5EF4-FFF2-40B4-BE49-F238E27FC236}">
                <a16:creationId xmlns:a16="http://schemas.microsoft.com/office/drawing/2014/main" id="{FC55EB2B-6BCB-AA44-90EA-AACC4472181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01752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enter content placeholder">
            <a:extLst>
              <a:ext uri="{FF2B5EF4-FFF2-40B4-BE49-F238E27FC236}">
                <a16:creationId xmlns:a16="http://schemas.microsoft.com/office/drawing/2014/main" id="{5B734D07-C029-714D-88BC-2BD9E017839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265676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ight content placeholder">
            <a:extLst>
              <a:ext uri="{FF2B5EF4-FFF2-40B4-BE49-F238E27FC236}">
                <a16:creationId xmlns:a16="http://schemas.microsoft.com/office/drawing/2014/main" id="{BE77EBC8-92AF-2047-9CCA-C475702A717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29600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75600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-section-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FFF82D-370F-D746-A4FA-23A8D59237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Section-1">
            <a:extLst>
              <a:ext uri="{FF2B5EF4-FFF2-40B4-BE49-F238E27FC236}">
                <a16:creationId xmlns:a16="http://schemas.microsoft.com/office/drawing/2014/main" id="{96FE0146-0E38-554F-9C80-30E69B9971C6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307975" y="4401085"/>
            <a:ext cx="3733800" cy="1540111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000" b="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1800" b="0" cap="none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Title of section</a:t>
            </a:r>
          </a:p>
          <a:p>
            <a:pPr lvl="1"/>
            <a:r>
              <a:rPr lang="en-US" dirty="0"/>
              <a:t>Smaller title of section</a:t>
            </a:r>
          </a:p>
        </p:txBody>
      </p:sp>
      <p:sp>
        <p:nvSpPr>
          <p:cNvPr id="20" name="Chunky-number-1">
            <a:extLst>
              <a:ext uri="{FF2B5EF4-FFF2-40B4-BE49-F238E27FC236}">
                <a16:creationId xmlns:a16="http://schemas.microsoft.com/office/drawing/2014/main" id="{42A387A4-A164-B94C-A2AC-D6661CD03F78}"/>
              </a:ext>
            </a:extLst>
          </p:cNvPr>
          <p:cNvSpPr/>
          <p:nvPr userDrawn="1"/>
        </p:nvSpPr>
        <p:spPr>
          <a:xfrm>
            <a:off x="191925" y="2846904"/>
            <a:ext cx="1903575" cy="1692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/>
          <a:p>
            <a:pPr defTabSz="685766"/>
            <a:r>
              <a:rPr lang="en-US" sz="1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6" name="Section-2">
            <a:extLst>
              <a:ext uri="{FF2B5EF4-FFF2-40B4-BE49-F238E27FC236}">
                <a16:creationId xmlns:a16="http://schemas.microsoft.com/office/drawing/2014/main" id="{D8E33AB1-7AE1-E540-9108-EC828A5C9853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4227757" y="4401085"/>
            <a:ext cx="3733800" cy="1540111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000" b="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1800" b="0" cap="none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Title of section</a:t>
            </a:r>
          </a:p>
          <a:p>
            <a:pPr lvl="1"/>
            <a:r>
              <a:rPr lang="en-US" dirty="0"/>
              <a:t>Smaller title of section</a:t>
            </a:r>
          </a:p>
        </p:txBody>
      </p:sp>
      <p:sp>
        <p:nvSpPr>
          <p:cNvPr id="23" name="Chunky-number-2">
            <a:extLst>
              <a:ext uri="{FF2B5EF4-FFF2-40B4-BE49-F238E27FC236}">
                <a16:creationId xmlns:a16="http://schemas.microsoft.com/office/drawing/2014/main" id="{E993C4EA-9DB0-734F-8B57-D6AE8F423E3D}"/>
              </a:ext>
            </a:extLst>
          </p:cNvPr>
          <p:cNvSpPr/>
          <p:nvPr userDrawn="1"/>
        </p:nvSpPr>
        <p:spPr>
          <a:xfrm>
            <a:off x="4202289" y="2846904"/>
            <a:ext cx="1903575" cy="1692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/>
          <a:p>
            <a:pPr defTabSz="685766"/>
            <a:r>
              <a:rPr lang="en-US" sz="1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7" name="Section-3">
            <a:extLst>
              <a:ext uri="{FF2B5EF4-FFF2-40B4-BE49-F238E27FC236}">
                <a16:creationId xmlns:a16="http://schemas.microsoft.com/office/drawing/2014/main" id="{B9DE12DB-EDD8-974A-9AEA-E51FDB9CB4CC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8147539" y="4401085"/>
            <a:ext cx="3730752" cy="1538854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000" b="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1800" b="0" cap="none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Title of section</a:t>
            </a:r>
          </a:p>
          <a:p>
            <a:pPr lvl="1"/>
            <a:r>
              <a:rPr lang="en-US" dirty="0"/>
              <a:t>Smaller title of section</a:t>
            </a:r>
          </a:p>
        </p:txBody>
      </p:sp>
      <p:sp>
        <p:nvSpPr>
          <p:cNvPr id="24" name="Chunky-number-3">
            <a:extLst>
              <a:ext uri="{FF2B5EF4-FFF2-40B4-BE49-F238E27FC236}">
                <a16:creationId xmlns:a16="http://schemas.microsoft.com/office/drawing/2014/main" id="{16C70410-9972-6F4D-8884-371D99E18E38}"/>
              </a:ext>
            </a:extLst>
          </p:cNvPr>
          <p:cNvSpPr/>
          <p:nvPr userDrawn="1"/>
        </p:nvSpPr>
        <p:spPr>
          <a:xfrm>
            <a:off x="8147539" y="2846904"/>
            <a:ext cx="1903575" cy="1692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/>
          <a:p>
            <a:pPr defTabSz="685766"/>
            <a:r>
              <a:rPr lang="en-US" sz="1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3" name="Section-mask-1">
            <a:extLst>
              <a:ext uri="{FF2B5EF4-FFF2-40B4-BE49-F238E27FC236}">
                <a16:creationId xmlns:a16="http://schemas.microsoft.com/office/drawing/2014/main" id="{4C7BCD88-5201-CF42-BF3C-ED747E276E7B}"/>
              </a:ext>
            </a:extLst>
          </p:cNvPr>
          <p:cNvSpPr/>
          <p:nvPr userDrawn="1"/>
        </p:nvSpPr>
        <p:spPr>
          <a:xfrm>
            <a:off x="0" y="7213600"/>
            <a:ext cx="5943600" cy="660400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4" name="Section-mask-2">
            <a:extLst>
              <a:ext uri="{FF2B5EF4-FFF2-40B4-BE49-F238E27FC236}">
                <a16:creationId xmlns:a16="http://schemas.microsoft.com/office/drawing/2014/main" id="{9C6B6884-132C-5742-AED7-2DEEA6FFE540}"/>
              </a:ext>
            </a:extLst>
          </p:cNvPr>
          <p:cNvSpPr/>
          <p:nvPr userDrawn="1"/>
        </p:nvSpPr>
        <p:spPr>
          <a:xfrm>
            <a:off x="8915400" y="7213600"/>
            <a:ext cx="3276600" cy="660400"/>
          </a:xfrm>
          <a:prstGeom prst="rect">
            <a:avLst/>
          </a:prstGeom>
          <a:solidFill>
            <a:schemeClr val="tx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844923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-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1C889E-571E-7D4A-8DE8-201E16D5F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7FE29D-459F-CC40-84A4-87E8C1F136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ootnotes or source">
            <a:extLst>
              <a:ext uri="{FF2B5EF4-FFF2-40B4-BE49-F238E27FC236}">
                <a16:creationId xmlns:a16="http://schemas.microsoft.com/office/drawing/2014/main" id="{C5495C87-5455-7342-9158-84E948B63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9" indent="-118869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op left subhead">
            <a:extLst>
              <a:ext uri="{FF2B5EF4-FFF2-40B4-BE49-F238E27FC236}">
                <a16:creationId xmlns:a16="http://schemas.microsoft.com/office/drawing/2014/main" id="{789677A3-7A85-904B-95F1-0B09C4921C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1280160"/>
            <a:ext cx="57150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op right subhead">
            <a:extLst>
              <a:ext uri="{FF2B5EF4-FFF2-40B4-BE49-F238E27FC236}">
                <a16:creationId xmlns:a16="http://schemas.microsoft.com/office/drawing/2014/main" id="{4994A87C-7020-624C-9C30-4CBBCF35A5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72200" y="1280160"/>
            <a:ext cx="57150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Bottom left subhead">
            <a:extLst>
              <a:ext uri="{FF2B5EF4-FFF2-40B4-BE49-F238E27FC236}">
                <a16:creationId xmlns:a16="http://schemas.microsoft.com/office/drawing/2014/main" id="{4F31C991-478D-5A4C-8B25-3481D35319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3636819"/>
            <a:ext cx="57150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Bottom right subhead">
            <a:extLst>
              <a:ext uri="{FF2B5EF4-FFF2-40B4-BE49-F238E27FC236}">
                <a16:creationId xmlns:a16="http://schemas.microsoft.com/office/drawing/2014/main" id="{83A468F3-D0EF-3D40-ABA2-40126D955E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72200" y="3636819"/>
            <a:ext cx="57150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op left content placeholder">
            <a:extLst>
              <a:ext uri="{FF2B5EF4-FFF2-40B4-BE49-F238E27FC236}">
                <a16:creationId xmlns:a16="http://schemas.microsoft.com/office/drawing/2014/main" id="{C5C75857-6908-EC48-BD0B-C345F186CCE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04800" y="1737360"/>
            <a:ext cx="5715000" cy="16824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op right content placeholder">
            <a:extLst>
              <a:ext uri="{FF2B5EF4-FFF2-40B4-BE49-F238E27FC236}">
                <a16:creationId xmlns:a16="http://schemas.microsoft.com/office/drawing/2014/main" id="{223B08B0-B078-7345-BFFF-9245EAAB7A6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72200" y="1737360"/>
            <a:ext cx="5715000" cy="16824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Bottom left content placeholder">
            <a:extLst>
              <a:ext uri="{FF2B5EF4-FFF2-40B4-BE49-F238E27FC236}">
                <a16:creationId xmlns:a16="http://schemas.microsoft.com/office/drawing/2014/main" id="{2E45EAB5-8BCA-044F-9D5B-9FD8315F0D7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04800" y="4119401"/>
            <a:ext cx="5715000" cy="16824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Bottom right content placeholder">
            <a:extLst>
              <a:ext uri="{FF2B5EF4-FFF2-40B4-BE49-F238E27FC236}">
                <a16:creationId xmlns:a16="http://schemas.microsoft.com/office/drawing/2014/main" id="{AEB0F400-5157-C648-AF32-A6BC0A9A5380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75376" y="4119401"/>
            <a:ext cx="5711825" cy="16824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8597083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thirds-one-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D76D7C-F546-434F-BC32-6664DE764B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304800"/>
            <a:ext cx="11582400" cy="82905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034EE0-E276-4846-9EBB-792D1E3B5C4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wo-thirds">
            <a:extLst>
              <a:ext uri="{FF2B5EF4-FFF2-40B4-BE49-F238E27FC236}">
                <a16:creationId xmlns:a16="http://schemas.microsoft.com/office/drawing/2014/main" id="{2307E025-F984-B547-B8FE-4DFD8D278C7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04800" y="1280160"/>
            <a:ext cx="73152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notes or source">
            <a:extLst>
              <a:ext uri="{FF2B5EF4-FFF2-40B4-BE49-F238E27FC236}">
                <a16:creationId xmlns:a16="http://schemas.microsoft.com/office/drawing/2014/main" id="{19111FEC-5E95-154F-AD6E-0AB8CF8CFE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9" indent="-118869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one-third">
            <a:extLst>
              <a:ext uri="{FF2B5EF4-FFF2-40B4-BE49-F238E27FC236}">
                <a16:creationId xmlns:a16="http://schemas.microsoft.com/office/drawing/2014/main" id="{A4C4C8B2-407B-FC41-8F6C-EAEA35958D9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992931" y="1280160"/>
            <a:ext cx="38862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90791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thirds-one-third-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8334B2-B6CC-4E4B-AA70-37222D9BC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ACA5E4-4D2A-A74C-867C-7FE8FBD228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Subhead">
            <a:extLst>
              <a:ext uri="{FF2B5EF4-FFF2-40B4-BE49-F238E27FC236}">
                <a16:creationId xmlns:a16="http://schemas.microsoft.com/office/drawing/2014/main" id="{48ACD544-818F-FF4C-B914-F51EB64D062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2" y="1280160"/>
            <a:ext cx="11585448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wo-thirds">
            <a:extLst>
              <a:ext uri="{FF2B5EF4-FFF2-40B4-BE49-F238E27FC236}">
                <a16:creationId xmlns:a16="http://schemas.microsoft.com/office/drawing/2014/main" id="{E7DA6189-54EE-8C42-9D91-426B6022325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98451" y="1737360"/>
            <a:ext cx="73152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one-third">
            <a:extLst>
              <a:ext uri="{FF2B5EF4-FFF2-40B4-BE49-F238E27FC236}">
                <a16:creationId xmlns:a16="http://schemas.microsoft.com/office/drawing/2014/main" id="{9440345A-4A21-054A-A0DF-803C4368DBC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024145" y="1737360"/>
            <a:ext cx="38862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notes or source">
            <a:extLst>
              <a:ext uri="{FF2B5EF4-FFF2-40B4-BE49-F238E27FC236}">
                <a16:creationId xmlns:a16="http://schemas.microsoft.com/office/drawing/2014/main" id="{342FD89A-EBB3-F646-9AA2-A2F24E8D7F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9" indent="-118869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2256401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5BCD3-73BA-4B4E-9EF1-EC3DA83876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49F419-CCB6-1B42-9B81-974A6973C6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ootnotes or source">
            <a:extLst>
              <a:ext uri="{FF2B5EF4-FFF2-40B4-BE49-F238E27FC236}">
                <a16:creationId xmlns:a16="http://schemas.microsoft.com/office/drawing/2014/main" id="{60C66321-19D3-D443-AF24-CDD6909001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9" indent="-118869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6107716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3E326F-9FAA-754E-A228-EA0A6E74CE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ootnotes or source">
            <a:extLst>
              <a:ext uri="{FF2B5EF4-FFF2-40B4-BE49-F238E27FC236}">
                <a16:creationId xmlns:a16="http://schemas.microsoft.com/office/drawing/2014/main" id="{822FE04D-686B-AA46-A1D1-98A22AB5F2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9" indent="-118869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93681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column-section-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FFF82D-370F-D746-A4FA-23A8D59237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Section-1">
            <a:extLst>
              <a:ext uri="{FF2B5EF4-FFF2-40B4-BE49-F238E27FC236}">
                <a16:creationId xmlns:a16="http://schemas.microsoft.com/office/drawing/2014/main" id="{96FE0146-0E38-554F-9C80-30E69B9971C6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307975" y="4401085"/>
            <a:ext cx="4135438" cy="1540111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000" b="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1800" b="0" cap="none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Title of section</a:t>
            </a:r>
          </a:p>
          <a:p>
            <a:pPr lvl="1"/>
            <a:r>
              <a:rPr lang="en-US" dirty="0"/>
              <a:t>Smaller title of section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E875D1-B4EE-A14F-8860-C0D857D900C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2845923"/>
            <a:ext cx="2038350" cy="169277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lnSpc>
                <a:spcPct val="100000"/>
              </a:lnSpc>
              <a:defRPr sz="11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2010315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40">
          <p15:clr>
            <a:srgbClr val="FBAE40"/>
          </p15:clr>
        </p15:guide>
        <p15:guide id="2" orient="horz" pos="1824">
          <p15:clr>
            <a:srgbClr val="FBAE40"/>
          </p15:clr>
        </p15:guide>
        <p15:guide id="3" pos="187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-column-cyan">
    <p:bg>
      <p:bgPr>
        <a:solidFill>
          <a:srgbClr val="00A3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EF22E3-403C-4A27-9A2A-4E1937E6B6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3BB7AB-F526-4E27-AB75-06BD23D37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INTERNAL USE ONLY. DO NOT DISTRIBUTE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0EA52F-D575-4C99-AEBC-BD239545BF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16FED-0390-46B9-8778-12BBB59FC94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FB9E92E-C420-4D59-B7DC-45A07B5F84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69631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-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esentation title">
            <a:extLst>
              <a:ext uri="{FF2B5EF4-FFF2-40B4-BE49-F238E27FC236}">
                <a16:creationId xmlns:a16="http://schemas.microsoft.com/office/drawing/2014/main" id="{C8A38BA2-F1A3-D44C-97C6-9C453D5050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926080"/>
            <a:ext cx="11582400" cy="830997"/>
          </a:xfrm>
        </p:spPr>
        <p:txBody>
          <a:bodyPr>
            <a:spAutoFit/>
          </a:bodyPr>
          <a:lstStyle>
            <a:lvl1pPr>
              <a:lnSpc>
                <a:spcPct val="87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04B1E7F7-EFC6-CD44-AA19-B41F7657D7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Subtitle or name of presenter">
            <a:extLst>
              <a:ext uri="{FF2B5EF4-FFF2-40B4-BE49-F238E27FC236}">
                <a16:creationId xmlns:a16="http://schemas.microsoft.com/office/drawing/2014/main" id="{DBFA04A7-365B-334F-AF7E-F9202BC433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2" y="3851939"/>
            <a:ext cx="7760580" cy="307777"/>
          </a:xfrm>
        </p:spPr>
        <p:txBody>
          <a:bodyPr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Date placeholder">
            <a:extLst>
              <a:ext uri="{FF2B5EF4-FFF2-40B4-BE49-F238E27FC236}">
                <a16:creationId xmlns:a16="http://schemas.microsoft.com/office/drawing/2014/main" id="{23946FD1-793E-6A45-9987-8443E3E102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71465" y="3892329"/>
            <a:ext cx="3712687" cy="246221"/>
          </a:xfrm>
        </p:spPr>
        <p:txBody>
          <a:bodyPr wrap="square" anchor="b">
            <a:spAutoFit/>
          </a:bodyPr>
          <a:lstStyle>
            <a:lvl1pPr algn="r">
              <a:defRPr sz="1600" b="1" cap="all" baseline="0">
                <a:solidFill>
                  <a:schemeClr val="accent4"/>
                </a:solidFill>
              </a:defRPr>
            </a:lvl1pPr>
            <a:lvl2pPr algn="r"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FS-logo">
            <a:extLst>
              <a:ext uri="{FF2B5EF4-FFF2-40B4-BE49-F238E27FC236}">
                <a16:creationId xmlns:a16="http://schemas.microsoft.com/office/drawing/2014/main" id="{C889D9D3-0468-1049-81C8-A6D513A742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12274" cy="1600200"/>
          </a:xfrm>
          <a:prstGeom prst="rect">
            <a:avLst/>
          </a:prstGeom>
          <a:noFill/>
        </p:spPr>
      </p:pic>
      <p:pic>
        <p:nvPicPr>
          <p:cNvPr id="7" name="FS-logo">
            <a:extLst>
              <a:ext uri="{FF2B5EF4-FFF2-40B4-BE49-F238E27FC236}">
                <a16:creationId xmlns:a16="http://schemas.microsoft.com/office/drawing/2014/main" id="{681A5587-4432-FE44-9C05-FB2EE6B0A5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12274" cy="16002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05936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28BE79BD-79B9-3F46-A895-F988891529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One-column placeholder">
            <a:extLst>
              <a:ext uri="{FF2B5EF4-FFF2-40B4-BE49-F238E27FC236}">
                <a16:creationId xmlns:a16="http://schemas.microsoft.com/office/drawing/2014/main" id="{4AC2727B-E6D9-134E-8ADF-A4826675688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01752" y="1280160"/>
            <a:ext cx="11585575" cy="4572000"/>
          </a:xfrm>
        </p:spPr>
        <p:txBody>
          <a:bodyPr/>
          <a:lstStyle>
            <a:lvl2pPr>
              <a:lnSpc>
                <a:spcPct val="92000"/>
              </a:lnSpc>
              <a:spcBef>
                <a:spcPts val="400"/>
              </a:spcBef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notes or source">
            <a:extLst>
              <a:ext uri="{FF2B5EF4-FFF2-40B4-BE49-F238E27FC236}">
                <a16:creationId xmlns:a16="http://schemas.microsoft.com/office/drawing/2014/main" id="{AEBE4842-989F-3F4A-BD20-AF5820F397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72C22BEF-E9EC-3247-9181-5C9177B2B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506553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-column-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ne-column subhead">
            <a:extLst>
              <a:ext uri="{FF2B5EF4-FFF2-40B4-BE49-F238E27FC236}">
                <a16:creationId xmlns:a16="http://schemas.microsoft.com/office/drawing/2014/main" id="{7F98CD30-9A2E-4A49-8E01-F156C7C0A5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2" y="1280160"/>
            <a:ext cx="11585448" cy="365760"/>
          </a:xfrm>
        </p:spPr>
        <p:txBody>
          <a:bodyPr wrap="square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D8D15E5A-6B9F-2E48-A8F2-A35E85136B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One-column placeholder">
            <a:extLst>
              <a:ext uri="{FF2B5EF4-FFF2-40B4-BE49-F238E27FC236}">
                <a16:creationId xmlns:a16="http://schemas.microsoft.com/office/drawing/2014/main" id="{C3021731-334E-CD47-A48A-2F96680C778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1752" y="1737360"/>
            <a:ext cx="11585448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notes or source">
            <a:extLst>
              <a:ext uri="{FF2B5EF4-FFF2-40B4-BE49-F238E27FC236}">
                <a16:creationId xmlns:a16="http://schemas.microsoft.com/office/drawing/2014/main" id="{B79268D5-FDCB-6B45-B4D0-20E01F75F1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36005B27-94D6-6D4B-B596-B49DEBB6BA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375915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2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0FB2CE31-8DD1-4841-9581-CEAA9A9BA5F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Right content placeholder">
            <a:extLst>
              <a:ext uri="{FF2B5EF4-FFF2-40B4-BE49-F238E27FC236}">
                <a16:creationId xmlns:a16="http://schemas.microsoft.com/office/drawing/2014/main" id="{BEBDBBE3-07B1-DD46-8A84-1F365037F7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01752" y="1280160"/>
            <a:ext cx="57150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Left content placeholder">
            <a:extLst>
              <a:ext uri="{FF2B5EF4-FFF2-40B4-BE49-F238E27FC236}">
                <a16:creationId xmlns:a16="http://schemas.microsoft.com/office/drawing/2014/main" id="{162772BE-D1F5-564F-A0E5-4433C1889B4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72200" y="1280160"/>
            <a:ext cx="57150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notes or source">
            <a:extLst>
              <a:ext uri="{FF2B5EF4-FFF2-40B4-BE49-F238E27FC236}">
                <a16:creationId xmlns:a16="http://schemas.microsoft.com/office/drawing/2014/main" id="{9B1839EE-C6EC-E040-88D5-F9875A7338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74A33FDE-63DB-E246-96BF-9458DB6F07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8026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88" userDrawn="1">
          <p15:clr>
            <a:srgbClr val="FBAE40"/>
          </p15:clr>
        </p15:guide>
        <p15:guide id="4" pos="379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lumn-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3B8F69B0-2DC7-F54B-8D92-29AA818936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Left content placeholder">
            <a:extLst>
              <a:ext uri="{FF2B5EF4-FFF2-40B4-BE49-F238E27FC236}">
                <a16:creationId xmlns:a16="http://schemas.microsoft.com/office/drawing/2014/main" id="{C214F381-465F-8E4A-8D89-8AE3BFA8A55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72200" y="1737360"/>
            <a:ext cx="57150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Right content placeholder">
            <a:extLst>
              <a:ext uri="{FF2B5EF4-FFF2-40B4-BE49-F238E27FC236}">
                <a16:creationId xmlns:a16="http://schemas.microsoft.com/office/drawing/2014/main" id="{871737ED-DD0A-C04D-A12B-F34BC71D1B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1752" y="1737360"/>
            <a:ext cx="5711825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notes or source">
            <a:extLst>
              <a:ext uri="{FF2B5EF4-FFF2-40B4-BE49-F238E27FC236}">
                <a16:creationId xmlns:a16="http://schemas.microsoft.com/office/drawing/2014/main" id="{C393E3FC-DE49-C442-BFAE-6022D06DA2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Left subhead">
            <a:extLst>
              <a:ext uri="{FF2B5EF4-FFF2-40B4-BE49-F238E27FC236}">
                <a16:creationId xmlns:a16="http://schemas.microsoft.com/office/drawing/2014/main" id="{0D694C0C-C640-AA44-8A0B-13D281A27F73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04800" y="1280160"/>
            <a:ext cx="5715000" cy="365760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Right subhead">
            <a:extLst>
              <a:ext uri="{FF2B5EF4-FFF2-40B4-BE49-F238E27FC236}">
                <a16:creationId xmlns:a16="http://schemas.microsoft.com/office/drawing/2014/main" id="{A84D9522-E9B4-BE46-8B38-EC5855EA807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72200" y="1280160"/>
            <a:ext cx="57150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67ED532-92A1-124C-BB7A-A63781F60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454401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-divider+questions-sl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FFF82D-370F-D746-A4FA-23A8D59237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Section title">
            <a:extLst>
              <a:ext uri="{FF2B5EF4-FFF2-40B4-BE49-F238E27FC236}">
                <a16:creationId xmlns:a16="http://schemas.microsoft.com/office/drawing/2014/main" id="{0AB29E21-D7F7-4544-B708-4EF94DAEC2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2" y="1600200"/>
            <a:ext cx="11585448" cy="1499616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609555" rtl="0" eaLnBrk="1" fontAlgn="auto" latinLnBrk="0" hangingPunct="1">
              <a:lnSpc>
                <a:spcPct val="87000"/>
              </a:lnSpc>
              <a:spcBef>
                <a:spcPts val="1000"/>
              </a:spcBef>
              <a:spcAft>
                <a:spcPts val="300"/>
              </a:spcAft>
              <a:buClrTx/>
              <a:buSzTx/>
              <a:buFont typeface="Arial"/>
              <a:buNone/>
              <a:tabLst/>
              <a:defRPr sz="6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47442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lumn-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A50DC8-5359-1546-8C4C-8C82C12AA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E7780BC-407E-2649-942A-916BC2B0CA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Subhead">
            <a:extLst>
              <a:ext uri="{FF2B5EF4-FFF2-40B4-BE49-F238E27FC236}">
                <a16:creationId xmlns:a16="http://schemas.microsoft.com/office/drawing/2014/main" id="{0CCF0C6D-1A43-7B44-9B13-A11188AD68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2" y="1280160"/>
            <a:ext cx="11603736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Left content placeholder">
            <a:extLst>
              <a:ext uri="{FF2B5EF4-FFF2-40B4-BE49-F238E27FC236}">
                <a16:creationId xmlns:a16="http://schemas.microsoft.com/office/drawing/2014/main" id="{5D0604E5-37FC-8F4D-B549-4B16F8E072C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72200" y="1737360"/>
            <a:ext cx="57150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ight content placeholder">
            <a:extLst>
              <a:ext uri="{FF2B5EF4-FFF2-40B4-BE49-F238E27FC236}">
                <a16:creationId xmlns:a16="http://schemas.microsoft.com/office/drawing/2014/main" id="{C0E1580D-59C8-9847-A3D5-17D37C5BEC2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1752" y="1737360"/>
            <a:ext cx="57150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Footnotes or source">
            <a:extLst>
              <a:ext uri="{FF2B5EF4-FFF2-40B4-BE49-F238E27FC236}">
                <a16:creationId xmlns:a16="http://schemas.microsoft.com/office/drawing/2014/main" id="{FB82E3A6-52E7-474C-9A10-B758D0B419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765612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os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D31A6AF2-5E57-1B45-96DE-4558E28909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FA34FA3-6CA4-144F-B9EA-57F1F4681E4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1280160"/>
            <a:ext cx="11582400" cy="5129213"/>
          </a:xfrm>
        </p:spPr>
        <p:txBody>
          <a:bodyPr/>
          <a:lstStyle>
            <a:lvl1pPr>
              <a:defRPr sz="1200" b="0" i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  <a:defRPr sz="1200" b="0" i="0" cap="none" baseline="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>
              <a:spcBef>
                <a:spcPts val="2000"/>
              </a:spcBef>
              <a:spcAft>
                <a:spcPts val="0"/>
              </a:spcAft>
              <a:defRPr sz="1600" b="1" cap="all" baseline="0"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buNone/>
              <a:tabLst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3A65A8AF-6001-B745-B55F-B442165EB3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06734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C59FC182-812F-4948-A8A4-06F7421F68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Center content placeholder">
            <a:extLst>
              <a:ext uri="{FF2B5EF4-FFF2-40B4-BE49-F238E27FC236}">
                <a16:creationId xmlns:a16="http://schemas.microsoft.com/office/drawing/2014/main" id="{3020EBA3-5E07-6049-88CA-B5472C3B9B0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67200" y="1280160"/>
            <a:ext cx="36576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Left content placeholder">
            <a:extLst>
              <a:ext uri="{FF2B5EF4-FFF2-40B4-BE49-F238E27FC236}">
                <a16:creationId xmlns:a16="http://schemas.microsoft.com/office/drawing/2014/main" id="{8E0377EE-5CCC-C340-98CD-E9CDC9C5D64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04800" y="1280160"/>
            <a:ext cx="36576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notes or source">
            <a:extLst>
              <a:ext uri="{FF2B5EF4-FFF2-40B4-BE49-F238E27FC236}">
                <a16:creationId xmlns:a16="http://schemas.microsoft.com/office/drawing/2014/main" id="{F5215A33-0067-2D40-BBAE-3B4519A6EB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A392300C-C5A2-C645-AD76-B2A060DAA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Right content placeholder">
            <a:extLst>
              <a:ext uri="{FF2B5EF4-FFF2-40B4-BE49-F238E27FC236}">
                <a16:creationId xmlns:a16="http://schemas.microsoft.com/office/drawing/2014/main" id="{9B0D9352-176F-4245-B2E3-2C9390BC6A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29600" y="1280160"/>
            <a:ext cx="36576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50297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-column-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382B0-0B2B-5848-8036-F3F2ED6F72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110950-8756-0E48-AD9C-404B7F8E158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ootnotes or source">
            <a:extLst>
              <a:ext uri="{FF2B5EF4-FFF2-40B4-BE49-F238E27FC236}">
                <a16:creationId xmlns:a16="http://schemas.microsoft.com/office/drawing/2014/main" id="{1D1440A0-AB7B-7B41-9342-7B9625AE6D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Left subhead">
            <a:extLst>
              <a:ext uri="{FF2B5EF4-FFF2-40B4-BE49-F238E27FC236}">
                <a16:creationId xmlns:a16="http://schemas.microsoft.com/office/drawing/2014/main" id="{C2947F76-5370-914D-93EF-77EAD0E4D4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1280160"/>
            <a:ext cx="36576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enter subhead">
            <a:extLst>
              <a:ext uri="{FF2B5EF4-FFF2-40B4-BE49-F238E27FC236}">
                <a16:creationId xmlns:a16="http://schemas.microsoft.com/office/drawing/2014/main" id="{6300A2F1-1713-2040-8AA5-9DCC9EEACE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67200" y="1280160"/>
            <a:ext cx="36576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Right subhead">
            <a:extLst>
              <a:ext uri="{FF2B5EF4-FFF2-40B4-BE49-F238E27FC236}">
                <a16:creationId xmlns:a16="http://schemas.microsoft.com/office/drawing/2014/main" id="{6DFCDA5B-4FAE-1741-98C0-0D6B0D1A2C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9600" y="1280160"/>
            <a:ext cx="36576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Left content placeholder">
            <a:extLst>
              <a:ext uri="{FF2B5EF4-FFF2-40B4-BE49-F238E27FC236}">
                <a16:creationId xmlns:a16="http://schemas.microsoft.com/office/drawing/2014/main" id="{16518879-AA98-1641-8DC0-C3BEA167F5E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04800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enter content placeholder">
            <a:extLst>
              <a:ext uri="{FF2B5EF4-FFF2-40B4-BE49-F238E27FC236}">
                <a16:creationId xmlns:a16="http://schemas.microsoft.com/office/drawing/2014/main" id="{BCD6FFB8-0B83-EC4F-A2F0-C205D64B5C5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267200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Right content placeholder">
            <a:extLst>
              <a:ext uri="{FF2B5EF4-FFF2-40B4-BE49-F238E27FC236}">
                <a16:creationId xmlns:a16="http://schemas.microsoft.com/office/drawing/2014/main" id="{640F384C-2913-3940-AD02-B57819DA95A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229600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939419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-column-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D1FC5C-F0FA-4149-ACAF-1D23E4B7E9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1F095AE-5F5B-674B-9C69-F109A1070F9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ootnotes or source">
            <a:extLst>
              <a:ext uri="{FF2B5EF4-FFF2-40B4-BE49-F238E27FC236}">
                <a16:creationId xmlns:a16="http://schemas.microsoft.com/office/drawing/2014/main" id="{A89C7DBD-9459-B74D-BF3C-5803BE05F56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ubhead">
            <a:extLst>
              <a:ext uri="{FF2B5EF4-FFF2-40B4-BE49-F238E27FC236}">
                <a16:creationId xmlns:a16="http://schemas.microsoft.com/office/drawing/2014/main" id="{E26904AC-13F7-054C-89E2-938B6AFBFA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1752" y="1280160"/>
            <a:ext cx="11585448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Left content placeholder">
            <a:extLst>
              <a:ext uri="{FF2B5EF4-FFF2-40B4-BE49-F238E27FC236}">
                <a16:creationId xmlns:a16="http://schemas.microsoft.com/office/drawing/2014/main" id="{FC55EB2B-6BCB-AA44-90EA-AACC4472181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01752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enter content placeholder">
            <a:extLst>
              <a:ext uri="{FF2B5EF4-FFF2-40B4-BE49-F238E27FC236}">
                <a16:creationId xmlns:a16="http://schemas.microsoft.com/office/drawing/2014/main" id="{5B734D07-C029-714D-88BC-2BD9E017839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265676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ight content placeholder">
            <a:extLst>
              <a:ext uri="{FF2B5EF4-FFF2-40B4-BE49-F238E27FC236}">
                <a16:creationId xmlns:a16="http://schemas.microsoft.com/office/drawing/2014/main" id="{BE77EBC8-92AF-2047-9CCA-C475702A717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29600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0698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-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1C889E-571E-7D4A-8DE8-201E16D5F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7FE29D-459F-CC40-84A4-87E8C1F136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ootnotes or source">
            <a:extLst>
              <a:ext uri="{FF2B5EF4-FFF2-40B4-BE49-F238E27FC236}">
                <a16:creationId xmlns:a16="http://schemas.microsoft.com/office/drawing/2014/main" id="{C5495C87-5455-7342-9158-84E948B63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op left subhead">
            <a:extLst>
              <a:ext uri="{FF2B5EF4-FFF2-40B4-BE49-F238E27FC236}">
                <a16:creationId xmlns:a16="http://schemas.microsoft.com/office/drawing/2014/main" id="{789677A3-7A85-904B-95F1-0B09C4921C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1280160"/>
            <a:ext cx="57150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op right subhead">
            <a:extLst>
              <a:ext uri="{FF2B5EF4-FFF2-40B4-BE49-F238E27FC236}">
                <a16:creationId xmlns:a16="http://schemas.microsoft.com/office/drawing/2014/main" id="{4994A87C-7020-624C-9C30-4CBBCF35A5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72200" y="1280160"/>
            <a:ext cx="57150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Bottom left subhead">
            <a:extLst>
              <a:ext uri="{FF2B5EF4-FFF2-40B4-BE49-F238E27FC236}">
                <a16:creationId xmlns:a16="http://schemas.microsoft.com/office/drawing/2014/main" id="{4F31C991-478D-5A4C-8B25-3481D35319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3636818"/>
            <a:ext cx="57150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Bottom right subhead">
            <a:extLst>
              <a:ext uri="{FF2B5EF4-FFF2-40B4-BE49-F238E27FC236}">
                <a16:creationId xmlns:a16="http://schemas.microsoft.com/office/drawing/2014/main" id="{83A468F3-D0EF-3D40-ABA2-40126D955E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72200" y="3636818"/>
            <a:ext cx="57150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op left content placeholder">
            <a:extLst>
              <a:ext uri="{FF2B5EF4-FFF2-40B4-BE49-F238E27FC236}">
                <a16:creationId xmlns:a16="http://schemas.microsoft.com/office/drawing/2014/main" id="{C5C75857-6908-EC48-BD0B-C345F186CCE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04800" y="1737360"/>
            <a:ext cx="5715000" cy="16824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op right content placeholder">
            <a:extLst>
              <a:ext uri="{FF2B5EF4-FFF2-40B4-BE49-F238E27FC236}">
                <a16:creationId xmlns:a16="http://schemas.microsoft.com/office/drawing/2014/main" id="{223B08B0-B078-7345-BFFF-9245EAAB7A6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72200" y="1737360"/>
            <a:ext cx="5715000" cy="16824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Bottom left content placeholder">
            <a:extLst>
              <a:ext uri="{FF2B5EF4-FFF2-40B4-BE49-F238E27FC236}">
                <a16:creationId xmlns:a16="http://schemas.microsoft.com/office/drawing/2014/main" id="{2E45EAB5-8BCA-044F-9D5B-9FD8315F0D7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04800" y="4119401"/>
            <a:ext cx="5715000" cy="16824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Bottom right content placeholder">
            <a:extLst>
              <a:ext uri="{FF2B5EF4-FFF2-40B4-BE49-F238E27FC236}">
                <a16:creationId xmlns:a16="http://schemas.microsoft.com/office/drawing/2014/main" id="{AEB0F400-5157-C648-AF32-A6BC0A9A5380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75375" y="4119401"/>
            <a:ext cx="5711825" cy="16824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1812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thirds-one-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D76D7C-F546-434F-BC32-6664DE764B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304800"/>
            <a:ext cx="11582400" cy="82905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034EE0-E276-4846-9EBB-792D1E3B5C4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wo-thirds">
            <a:extLst>
              <a:ext uri="{FF2B5EF4-FFF2-40B4-BE49-F238E27FC236}">
                <a16:creationId xmlns:a16="http://schemas.microsoft.com/office/drawing/2014/main" id="{2307E025-F984-B547-B8FE-4DFD8D278C7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04800" y="1280160"/>
            <a:ext cx="73152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notes or source">
            <a:extLst>
              <a:ext uri="{FF2B5EF4-FFF2-40B4-BE49-F238E27FC236}">
                <a16:creationId xmlns:a16="http://schemas.microsoft.com/office/drawing/2014/main" id="{19111FEC-5E95-154F-AD6E-0AB8CF8CFE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one-third">
            <a:extLst>
              <a:ext uri="{FF2B5EF4-FFF2-40B4-BE49-F238E27FC236}">
                <a16:creationId xmlns:a16="http://schemas.microsoft.com/office/drawing/2014/main" id="{A4C4C8B2-407B-FC41-8F6C-EAEA35958D9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992931" y="1280160"/>
            <a:ext cx="38862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91449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thirds-one-third-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8334B2-B6CC-4E4B-AA70-37222D9BC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ACA5E4-4D2A-A74C-867C-7FE8FBD228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Subhead">
            <a:extLst>
              <a:ext uri="{FF2B5EF4-FFF2-40B4-BE49-F238E27FC236}">
                <a16:creationId xmlns:a16="http://schemas.microsoft.com/office/drawing/2014/main" id="{48ACD544-818F-FF4C-B914-F51EB64D062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2" y="1280160"/>
            <a:ext cx="11585448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wo-thirds">
            <a:extLst>
              <a:ext uri="{FF2B5EF4-FFF2-40B4-BE49-F238E27FC236}">
                <a16:creationId xmlns:a16="http://schemas.microsoft.com/office/drawing/2014/main" id="{E7DA6189-54EE-8C42-9D91-426B6022325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98450" y="1737360"/>
            <a:ext cx="73152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one-third">
            <a:extLst>
              <a:ext uri="{FF2B5EF4-FFF2-40B4-BE49-F238E27FC236}">
                <a16:creationId xmlns:a16="http://schemas.microsoft.com/office/drawing/2014/main" id="{9440345A-4A21-054A-A0DF-803C4368DBC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024145" y="1737360"/>
            <a:ext cx="38862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notes or source">
            <a:extLst>
              <a:ext uri="{FF2B5EF4-FFF2-40B4-BE49-F238E27FC236}">
                <a16:creationId xmlns:a16="http://schemas.microsoft.com/office/drawing/2014/main" id="{342FD89A-EBB3-F646-9AA2-A2F24E8D7F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538465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5BCD3-73BA-4B4E-9EF1-EC3DA83876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49F419-CCB6-1B42-9B81-974A6973C6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ootnotes or source">
            <a:extLst>
              <a:ext uri="{FF2B5EF4-FFF2-40B4-BE49-F238E27FC236}">
                <a16:creationId xmlns:a16="http://schemas.microsoft.com/office/drawing/2014/main" id="{60C66321-19D3-D443-AF24-CDD6909001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502524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3E326F-9FAA-754E-A228-EA0A6E74CE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ootnotes or source">
            <a:extLst>
              <a:ext uri="{FF2B5EF4-FFF2-40B4-BE49-F238E27FC236}">
                <a16:creationId xmlns:a16="http://schemas.microsoft.com/office/drawing/2014/main" id="{822FE04D-686B-AA46-A1D1-98A22AB5F2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497762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-presenters-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FFF82D-370F-D746-A4FA-23A8D59237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Section title">
            <a:extLst>
              <a:ext uri="{FF2B5EF4-FFF2-40B4-BE49-F238E27FC236}">
                <a16:creationId xmlns:a16="http://schemas.microsoft.com/office/drawing/2014/main" id="{0AB29E21-D7F7-4544-B708-4EF94DAEC2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2" y="868680"/>
            <a:ext cx="11585448" cy="1499616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7000"/>
              </a:lnSpc>
              <a:defRPr sz="6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resenter-1">
            <a:extLst>
              <a:ext uri="{FF2B5EF4-FFF2-40B4-BE49-F238E27FC236}">
                <a16:creationId xmlns:a16="http://schemas.microsoft.com/office/drawing/2014/main" id="{96FE0146-0E38-554F-9C80-30E69B9971C6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307975" y="4480560"/>
            <a:ext cx="2715768" cy="1540111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300"/>
              </a:spcAft>
              <a:defRPr sz="2000" b="1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800" b="0" cap="none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Name of presenter</a:t>
            </a:r>
          </a:p>
          <a:p>
            <a:pPr lvl="1"/>
            <a:r>
              <a:rPr lang="en-US" dirty="0"/>
              <a:t>Title + company</a:t>
            </a:r>
          </a:p>
        </p:txBody>
      </p:sp>
      <p:sp>
        <p:nvSpPr>
          <p:cNvPr id="23" name="Headshot-1">
            <a:extLst>
              <a:ext uri="{FF2B5EF4-FFF2-40B4-BE49-F238E27FC236}">
                <a16:creationId xmlns:a16="http://schemas.microsoft.com/office/drawing/2014/main" id="{49ABD2D0-59D7-214C-B858-5CE80EFC257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04800" y="2788920"/>
            <a:ext cx="1554480" cy="1557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quare headshot</a:t>
            </a:r>
          </a:p>
          <a:p>
            <a:r>
              <a:rPr lang="en-US" dirty="0"/>
              <a:t>1.7”</a:t>
            </a:r>
          </a:p>
        </p:txBody>
      </p:sp>
      <p:sp>
        <p:nvSpPr>
          <p:cNvPr id="6" name="Headshot-placeholder-1" hidden="1">
            <a:extLst>
              <a:ext uri="{FF2B5EF4-FFF2-40B4-BE49-F238E27FC236}">
                <a16:creationId xmlns:a16="http://schemas.microsoft.com/office/drawing/2014/main" id="{707E6B5D-2025-6945-91FA-488B41B012D0}"/>
              </a:ext>
            </a:extLst>
          </p:cNvPr>
          <p:cNvSpPr/>
          <p:nvPr userDrawn="1"/>
        </p:nvSpPr>
        <p:spPr>
          <a:xfrm>
            <a:off x="307975" y="2674620"/>
            <a:ext cx="1554480" cy="1554480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Headshot here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1.7”</a:t>
            </a:r>
          </a:p>
        </p:txBody>
      </p:sp>
      <p:sp>
        <p:nvSpPr>
          <p:cNvPr id="14" name="Presenter-2">
            <a:extLst>
              <a:ext uri="{FF2B5EF4-FFF2-40B4-BE49-F238E27FC236}">
                <a16:creationId xmlns:a16="http://schemas.microsoft.com/office/drawing/2014/main" id="{4C298DB4-4602-6B46-9A70-D22044965C3D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3247194" y="4480560"/>
            <a:ext cx="2715768" cy="1540111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300"/>
              </a:spcAft>
              <a:defRPr sz="2000" b="1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800" b="0" cap="none" baseline="0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Name of presenter</a:t>
            </a:r>
          </a:p>
          <a:p>
            <a:pPr lvl="1"/>
            <a:r>
              <a:rPr lang="en-US" dirty="0"/>
              <a:t>Title + company</a:t>
            </a:r>
          </a:p>
        </p:txBody>
      </p:sp>
      <p:sp>
        <p:nvSpPr>
          <p:cNvPr id="24" name="Headshot-2">
            <a:extLst>
              <a:ext uri="{FF2B5EF4-FFF2-40B4-BE49-F238E27FC236}">
                <a16:creationId xmlns:a16="http://schemas.microsoft.com/office/drawing/2014/main" id="{35BEFF06-4294-1440-8327-17DD8385008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247194" y="2749164"/>
            <a:ext cx="1554480" cy="1557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quare headshot</a:t>
            </a:r>
          </a:p>
          <a:p>
            <a:r>
              <a:rPr lang="en-US" dirty="0"/>
              <a:t>1.7”</a:t>
            </a:r>
          </a:p>
        </p:txBody>
      </p:sp>
      <p:sp>
        <p:nvSpPr>
          <p:cNvPr id="20" name="Headshot-placeholder-2" hidden="1">
            <a:extLst>
              <a:ext uri="{FF2B5EF4-FFF2-40B4-BE49-F238E27FC236}">
                <a16:creationId xmlns:a16="http://schemas.microsoft.com/office/drawing/2014/main" id="{424A6EE8-7D2A-744F-8771-E0623F70561F}"/>
              </a:ext>
            </a:extLst>
          </p:cNvPr>
          <p:cNvSpPr/>
          <p:nvPr userDrawn="1"/>
        </p:nvSpPr>
        <p:spPr>
          <a:xfrm>
            <a:off x="3262461" y="2674620"/>
            <a:ext cx="1554480" cy="1554480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Headshot here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1.7”</a:t>
            </a:r>
          </a:p>
        </p:txBody>
      </p:sp>
      <p:sp>
        <p:nvSpPr>
          <p:cNvPr id="16" name="Presenter-3">
            <a:extLst>
              <a:ext uri="{FF2B5EF4-FFF2-40B4-BE49-F238E27FC236}">
                <a16:creationId xmlns:a16="http://schemas.microsoft.com/office/drawing/2014/main" id="{21216859-A069-0549-9E17-9138B5AA8CC1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6186413" y="4480560"/>
            <a:ext cx="2715768" cy="1540111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300"/>
              </a:spcAft>
              <a:defRPr lang="en-US" sz="2000" b="1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800" b="0" cap="none" baseline="0">
                <a:solidFill>
                  <a:schemeClr val="tx1"/>
                </a:solidFill>
              </a:defRPr>
            </a:lvl2pPr>
          </a:lstStyle>
          <a:p>
            <a:pPr marL="0" lvl="0" indent="0" algn="l" defTabSz="609555" rtl="0" eaLnBrk="1" latinLnBrk="0" hangingPunct="1">
              <a:spcBef>
                <a:spcPts val="0"/>
              </a:spcBef>
              <a:spcAft>
                <a:spcPts val="300"/>
              </a:spcAft>
              <a:buFont typeface="Arial"/>
              <a:buNone/>
            </a:pPr>
            <a:r>
              <a:rPr lang="en-US" dirty="0"/>
              <a:t>Name of presenter</a:t>
            </a:r>
          </a:p>
          <a:p>
            <a:pPr lvl="1"/>
            <a:r>
              <a:rPr lang="en-US" dirty="0"/>
              <a:t>Title + company</a:t>
            </a:r>
          </a:p>
        </p:txBody>
      </p:sp>
      <p:sp>
        <p:nvSpPr>
          <p:cNvPr id="25" name="Headshot-3">
            <a:extLst>
              <a:ext uri="{FF2B5EF4-FFF2-40B4-BE49-F238E27FC236}">
                <a16:creationId xmlns:a16="http://schemas.microsoft.com/office/drawing/2014/main" id="{CEA0A007-D84C-814A-BF36-690ED8810DC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86413" y="2788920"/>
            <a:ext cx="1554480" cy="1557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quare headshot</a:t>
            </a:r>
          </a:p>
          <a:p>
            <a:r>
              <a:rPr lang="en-US" dirty="0"/>
              <a:t>1.7”</a:t>
            </a:r>
          </a:p>
        </p:txBody>
      </p:sp>
      <p:sp>
        <p:nvSpPr>
          <p:cNvPr id="21" name="Headshot-placeholder-3" hidden="1">
            <a:extLst>
              <a:ext uri="{FF2B5EF4-FFF2-40B4-BE49-F238E27FC236}">
                <a16:creationId xmlns:a16="http://schemas.microsoft.com/office/drawing/2014/main" id="{F2F42600-FF18-A040-A7E4-F8C82E3AF722}"/>
              </a:ext>
            </a:extLst>
          </p:cNvPr>
          <p:cNvSpPr/>
          <p:nvPr userDrawn="1"/>
        </p:nvSpPr>
        <p:spPr>
          <a:xfrm>
            <a:off x="6216947" y="2674620"/>
            <a:ext cx="1554480" cy="1554480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Headshot here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1.7”</a:t>
            </a:r>
          </a:p>
        </p:txBody>
      </p:sp>
      <p:sp>
        <p:nvSpPr>
          <p:cNvPr id="18" name="Presenter-4">
            <a:extLst>
              <a:ext uri="{FF2B5EF4-FFF2-40B4-BE49-F238E27FC236}">
                <a16:creationId xmlns:a16="http://schemas.microsoft.com/office/drawing/2014/main" id="{8B0D2B18-E3DF-BF4C-A706-4B76FF998174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9125632" y="4480560"/>
            <a:ext cx="2715768" cy="1540111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300"/>
              </a:spcAft>
              <a:defRPr lang="en-US" sz="2000" b="1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800" b="0" cap="none" baseline="0">
                <a:solidFill>
                  <a:schemeClr val="tx1"/>
                </a:solidFill>
              </a:defRPr>
            </a:lvl2pPr>
          </a:lstStyle>
          <a:p>
            <a:pPr marL="0" lvl="0" indent="0" algn="l" defTabSz="609555" rtl="0" eaLnBrk="1" latinLnBrk="0" hangingPunct="1">
              <a:spcBef>
                <a:spcPts val="0"/>
              </a:spcBef>
              <a:spcAft>
                <a:spcPts val="300"/>
              </a:spcAft>
              <a:buFont typeface="Arial"/>
              <a:buNone/>
            </a:pPr>
            <a:r>
              <a:rPr lang="en-US" dirty="0"/>
              <a:t>Name of presenter</a:t>
            </a:r>
          </a:p>
          <a:p>
            <a:pPr lvl="1"/>
            <a:r>
              <a:rPr lang="en-US" dirty="0"/>
              <a:t>Title + company</a:t>
            </a:r>
          </a:p>
        </p:txBody>
      </p:sp>
      <p:sp>
        <p:nvSpPr>
          <p:cNvPr id="26" name="Headshot-4">
            <a:extLst>
              <a:ext uri="{FF2B5EF4-FFF2-40B4-BE49-F238E27FC236}">
                <a16:creationId xmlns:a16="http://schemas.microsoft.com/office/drawing/2014/main" id="{517BC420-FB31-3C49-BBF4-312CD589BFC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25632" y="2788920"/>
            <a:ext cx="1554480" cy="1557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quare headshot</a:t>
            </a:r>
          </a:p>
          <a:p>
            <a:r>
              <a:rPr lang="en-US" dirty="0"/>
              <a:t>1.7”</a:t>
            </a:r>
          </a:p>
        </p:txBody>
      </p:sp>
      <p:sp>
        <p:nvSpPr>
          <p:cNvPr id="22" name="Headshot-placeholder-4" hidden="1">
            <a:extLst>
              <a:ext uri="{FF2B5EF4-FFF2-40B4-BE49-F238E27FC236}">
                <a16:creationId xmlns:a16="http://schemas.microsoft.com/office/drawing/2014/main" id="{1C5E601A-415C-AA4D-BBDD-51199B24E6DB}"/>
              </a:ext>
            </a:extLst>
          </p:cNvPr>
          <p:cNvSpPr/>
          <p:nvPr userDrawn="1"/>
        </p:nvSpPr>
        <p:spPr>
          <a:xfrm>
            <a:off x="9144000" y="2674620"/>
            <a:ext cx="1554480" cy="1554480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Headshot here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1.7”</a:t>
            </a:r>
          </a:p>
        </p:txBody>
      </p:sp>
    </p:spTree>
    <p:extLst>
      <p:ext uri="{BB962C8B-B14F-4D97-AF65-F5344CB8AC3E}">
        <p14:creationId xmlns:p14="http://schemas.microsoft.com/office/powerpoint/2010/main" val="3877715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64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-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esentation title">
            <a:extLst>
              <a:ext uri="{FF2B5EF4-FFF2-40B4-BE49-F238E27FC236}">
                <a16:creationId xmlns:a16="http://schemas.microsoft.com/office/drawing/2014/main" id="{C8A38BA2-F1A3-D44C-97C6-9C453D5050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926080"/>
            <a:ext cx="11582400" cy="830997"/>
          </a:xfrm>
        </p:spPr>
        <p:txBody>
          <a:bodyPr>
            <a:spAutoFit/>
          </a:bodyPr>
          <a:lstStyle>
            <a:lvl1pPr>
              <a:lnSpc>
                <a:spcPct val="87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04B1E7F7-EFC6-CD44-AA19-B41F7657D7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Subtitle or name of presenter">
            <a:extLst>
              <a:ext uri="{FF2B5EF4-FFF2-40B4-BE49-F238E27FC236}">
                <a16:creationId xmlns:a16="http://schemas.microsoft.com/office/drawing/2014/main" id="{DBFA04A7-365B-334F-AF7E-F9202BC433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2" y="3851939"/>
            <a:ext cx="7760580" cy="307777"/>
          </a:xfrm>
        </p:spPr>
        <p:txBody>
          <a:bodyPr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Date placeholder">
            <a:extLst>
              <a:ext uri="{FF2B5EF4-FFF2-40B4-BE49-F238E27FC236}">
                <a16:creationId xmlns:a16="http://schemas.microsoft.com/office/drawing/2014/main" id="{23946FD1-793E-6A45-9987-8443E3E102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71465" y="3892329"/>
            <a:ext cx="3712687" cy="246221"/>
          </a:xfrm>
        </p:spPr>
        <p:txBody>
          <a:bodyPr wrap="square" anchor="b">
            <a:spAutoFit/>
          </a:bodyPr>
          <a:lstStyle>
            <a:lvl1pPr algn="r">
              <a:defRPr sz="1600" b="1" cap="all" baseline="0">
                <a:solidFill>
                  <a:schemeClr val="accent4"/>
                </a:solidFill>
              </a:defRPr>
            </a:lvl1pPr>
            <a:lvl2pPr algn="r"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8" name="FS-logo">
            <a:extLst>
              <a:ext uri="{FF2B5EF4-FFF2-40B4-BE49-F238E27FC236}">
                <a16:creationId xmlns:a16="http://schemas.microsoft.com/office/drawing/2014/main" id="{C889D9D3-0468-1049-81C8-A6D513A742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12274" cy="16002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60672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92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-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esentation title">
            <a:extLst>
              <a:ext uri="{FF2B5EF4-FFF2-40B4-BE49-F238E27FC236}">
                <a16:creationId xmlns:a16="http://schemas.microsoft.com/office/drawing/2014/main" id="{C8A38BA2-F1A3-D44C-97C6-9C453D5050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880360"/>
            <a:ext cx="11582400" cy="830997"/>
          </a:xfrm>
        </p:spPr>
        <p:txBody>
          <a:bodyPr>
            <a:spAutoFit/>
          </a:bodyPr>
          <a:lstStyle>
            <a:lvl1pPr>
              <a:lnSpc>
                <a:spcPct val="87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04B1E7F7-EFC6-CD44-AA19-B41F7657D7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Subtitle or name of presenter">
            <a:extLst>
              <a:ext uri="{FF2B5EF4-FFF2-40B4-BE49-F238E27FC236}">
                <a16:creationId xmlns:a16="http://schemas.microsoft.com/office/drawing/2014/main" id="{DBFA04A7-365B-334F-AF7E-F9202BC433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2" y="3831336"/>
            <a:ext cx="7760580" cy="369332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Date placeholder">
            <a:extLst>
              <a:ext uri="{FF2B5EF4-FFF2-40B4-BE49-F238E27FC236}">
                <a16:creationId xmlns:a16="http://schemas.microsoft.com/office/drawing/2014/main" id="{23946FD1-793E-6A45-9987-8443E3E102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71465" y="3939058"/>
            <a:ext cx="3712687" cy="261610"/>
          </a:xfrm>
        </p:spPr>
        <p:txBody>
          <a:bodyPr wrap="square" anchor="b">
            <a:spAutoFit/>
          </a:bodyPr>
          <a:lstStyle>
            <a:lvl1pPr algn="r">
              <a:defRPr sz="1700" b="1" cap="all" baseline="0">
                <a:solidFill>
                  <a:schemeClr val="accent4"/>
                </a:solidFill>
              </a:defRPr>
            </a:lvl1pPr>
            <a:lvl2pPr algn="r"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FS-logo">
            <a:extLst>
              <a:ext uri="{FF2B5EF4-FFF2-40B4-BE49-F238E27FC236}">
                <a16:creationId xmlns:a16="http://schemas.microsoft.com/office/drawing/2014/main" id="{C889D9D3-0468-1049-81C8-A6D513A742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12274" cy="16002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487504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28BE79BD-79B9-3F46-A895-F988891529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One-column placeholder">
            <a:extLst>
              <a:ext uri="{FF2B5EF4-FFF2-40B4-BE49-F238E27FC236}">
                <a16:creationId xmlns:a16="http://schemas.microsoft.com/office/drawing/2014/main" id="{4AC2727B-E6D9-134E-8ADF-A4826675688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01752" y="1280160"/>
            <a:ext cx="11585575" cy="4572000"/>
          </a:xfrm>
        </p:spPr>
        <p:txBody>
          <a:bodyPr/>
          <a:lstStyle>
            <a:lvl2pPr>
              <a:lnSpc>
                <a:spcPct val="92000"/>
              </a:lnSpc>
              <a:spcBef>
                <a:spcPts val="400"/>
              </a:spcBef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notes or source">
            <a:extLst>
              <a:ext uri="{FF2B5EF4-FFF2-40B4-BE49-F238E27FC236}">
                <a16:creationId xmlns:a16="http://schemas.microsoft.com/office/drawing/2014/main" id="{AEBE4842-989F-3F4A-BD20-AF5820F397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72C22BEF-E9EC-3247-9181-5C9177B2B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81382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-column-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ne-column subhead">
            <a:extLst>
              <a:ext uri="{FF2B5EF4-FFF2-40B4-BE49-F238E27FC236}">
                <a16:creationId xmlns:a16="http://schemas.microsoft.com/office/drawing/2014/main" id="{7F98CD30-9A2E-4A49-8E01-F156C7C0A5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2" y="1280160"/>
            <a:ext cx="11585448" cy="365760"/>
          </a:xfrm>
        </p:spPr>
        <p:txBody>
          <a:bodyPr wrap="square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D8D15E5A-6B9F-2E48-A8F2-A35E85136B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One-column placeholder">
            <a:extLst>
              <a:ext uri="{FF2B5EF4-FFF2-40B4-BE49-F238E27FC236}">
                <a16:creationId xmlns:a16="http://schemas.microsoft.com/office/drawing/2014/main" id="{C3021731-334E-CD47-A48A-2F96680C778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1752" y="1737360"/>
            <a:ext cx="11585448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notes or source">
            <a:extLst>
              <a:ext uri="{FF2B5EF4-FFF2-40B4-BE49-F238E27FC236}">
                <a16:creationId xmlns:a16="http://schemas.microsoft.com/office/drawing/2014/main" id="{B79268D5-FDCB-6B45-B4D0-20E01F75F1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36005B27-94D6-6D4B-B596-B49DEBB6BA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9302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28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0FB2CE31-8DD1-4841-9581-CEAA9A9BA5F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Right content placeholder">
            <a:extLst>
              <a:ext uri="{FF2B5EF4-FFF2-40B4-BE49-F238E27FC236}">
                <a16:creationId xmlns:a16="http://schemas.microsoft.com/office/drawing/2014/main" id="{BEBDBBE3-07B1-DD46-8A84-1F365037F7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01752" y="1280160"/>
            <a:ext cx="57150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Left content placeholder">
            <a:extLst>
              <a:ext uri="{FF2B5EF4-FFF2-40B4-BE49-F238E27FC236}">
                <a16:creationId xmlns:a16="http://schemas.microsoft.com/office/drawing/2014/main" id="{162772BE-D1F5-564F-A0E5-4433C1889B4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72200" y="1280160"/>
            <a:ext cx="57150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notes or source">
            <a:extLst>
              <a:ext uri="{FF2B5EF4-FFF2-40B4-BE49-F238E27FC236}">
                <a16:creationId xmlns:a16="http://schemas.microsoft.com/office/drawing/2014/main" id="{9B1839EE-C6EC-E040-88D5-F9875A7338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74A33FDE-63DB-E246-96BF-9458DB6F07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36875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8">
          <p15:clr>
            <a:srgbClr val="FBAE40"/>
          </p15:clr>
        </p15:guide>
        <p15:guide id="2" pos="379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lumn-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3B8F69B0-2DC7-F54B-8D92-29AA818936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Left content placeholder">
            <a:extLst>
              <a:ext uri="{FF2B5EF4-FFF2-40B4-BE49-F238E27FC236}">
                <a16:creationId xmlns:a16="http://schemas.microsoft.com/office/drawing/2014/main" id="{C214F381-465F-8E4A-8D89-8AE3BFA8A55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72200" y="1737360"/>
            <a:ext cx="57150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Right content placeholder">
            <a:extLst>
              <a:ext uri="{FF2B5EF4-FFF2-40B4-BE49-F238E27FC236}">
                <a16:creationId xmlns:a16="http://schemas.microsoft.com/office/drawing/2014/main" id="{871737ED-DD0A-C04D-A12B-F34BC71D1B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1752" y="1737360"/>
            <a:ext cx="5711825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notes or source">
            <a:extLst>
              <a:ext uri="{FF2B5EF4-FFF2-40B4-BE49-F238E27FC236}">
                <a16:creationId xmlns:a16="http://schemas.microsoft.com/office/drawing/2014/main" id="{C393E3FC-DE49-C442-BFAE-6022D06DA2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Left subhead">
            <a:extLst>
              <a:ext uri="{FF2B5EF4-FFF2-40B4-BE49-F238E27FC236}">
                <a16:creationId xmlns:a16="http://schemas.microsoft.com/office/drawing/2014/main" id="{0D694C0C-C640-AA44-8A0B-13D281A27F73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04800" y="1280160"/>
            <a:ext cx="5715000" cy="365760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Right subhead">
            <a:extLst>
              <a:ext uri="{FF2B5EF4-FFF2-40B4-BE49-F238E27FC236}">
                <a16:creationId xmlns:a16="http://schemas.microsoft.com/office/drawing/2014/main" id="{A84D9522-E9B4-BE46-8B38-EC5855EA807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72200" y="1280160"/>
            <a:ext cx="57150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67ED532-92A1-124C-BB7A-A63781F60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94124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lumn-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A50DC8-5359-1546-8C4C-8C82C12AA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E7780BC-407E-2649-942A-916BC2B0CA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Subhead">
            <a:extLst>
              <a:ext uri="{FF2B5EF4-FFF2-40B4-BE49-F238E27FC236}">
                <a16:creationId xmlns:a16="http://schemas.microsoft.com/office/drawing/2014/main" id="{0CCF0C6D-1A43-7B44-9B13-A11188AD68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2" y="1280160"/>
            <a:ext cx="11603736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Right content placeholder">
            <a:extLst>
              <a:ext uri="{FF2B5EF4-FFF2-40B4-BE49-F238E27FC236}">
                <a16:creationId xmlns:a16="http://schemas.microsoft.com/office/drawing/2014/main" id="{C0E1580D-59C8-9847-A3D5-17D37C5BEC2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1752" y="1737360"/>
            <a:ext cx="57150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Footnotes or source">
            <a:extLst>
              <a:ext uri="{FF2B5EF4-FFF2-40B4-BE49-F238E27FC236}">
                <a16:creationId xmlns:a16="http://schemas.microsoft.com/office/drawing/2014/main" id="{FB82E3A6-52E7-474C-9A10-B758D0B419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697E8CB-5034-B74B-90A5-2455FE44025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72200" y="1737360"/>
            <a:ext cx="57150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895582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os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D31A6AF2-5E57-1B45-96DE-4558E28909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FA34FA3-6CA4-144F-B9EA-57F1F4681E4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1280160"/>
            <a:ext cx="11582400" cy="5129213"/>
          </a:xfrm>
        </p:spPr>
        <p:txBody>
          <a:bodyPr/>
          <a:lstStyle>
            <a:lvl1pPr>
              <a:defRPr sz="1200" b="0" i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200" b="0" i="0" cap="none" baseline="0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>
              <a:spcBef>
                <a:spcPts val="2000"/>
              </a:spcBef>
              <a:spcAft>
                <a:spcPts val="0"/>
              </a:spcAft>
              <a:defRPr sz="1600" b="1" cap="all" baseline="0"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buNone/>
              <a:tabLst/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3A65A8AF-6001-B745-B55F-B442165EB3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254649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C59FC182-812F-4948-A8A4-06F7421F68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Center content placeholder">
            <a:extLst>
              <a:ext uri="{FF2B5EF4-FFF2-40B4-BE49-F238E27FC236}">
                <a16:creationId xmlns:a16="http://schemas.microsoft.com/office/drawing/2014/main" id="{3020EBA3-5E07-6049-88CA-B5472C3B9B0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67200" y="1280160"/>
            <a:ext cx="36576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Left content placeholder">
            <a:extLst>
              <a:ext uri="{FF2B5EF4-FFF2-40B4-BE49-F238E27FC236}">
                <a16:creationId xmlns:a16="http://schemas.microsoft.com/office/drawing/2014/main" id="{8E0377EE-5CCC-C340-98CD-E9CDC9C5D64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04800" y="1280160"/>
            <a:ext cx="36576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notes or source">
            <a:extLst>
              <a:ext uri="{FF2B5EF4-FFF2-40B4-BE49-F238E27FC236}">
                <a16:creationId xmlns:a16="http://schemas.microsoft.com/office/drawing/2014/main" id="{F5215A33-0067-2D40-BBAE-3B4519A6EB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A392300C-C5A2-C645-AD76-B2A060DAA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Right content placeholder">
            <a:extLst>
              <a:ext uri="{FF2B5EF4-FFF2-40B4-BE49-F238E27FC236}">
                <a16:creationId xmlns:a16="http://schemas.microsoft.com/office/drawing/2014/main" id="{9B0D9352-176F-4245-B2E3-2C9390BC6A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29600" y="1280160"/>
            <a:ext cx="36576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31672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-column-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382B0-0B2B-5848-8036-F3F2ED6F72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110950-8756-0E48-AD9C-404B7F8E158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ootnotes or source">
            <a:extLst>
              <a:ext uri="{FF2B5EF4-FFF2-40B4-BE49-F238E27FC236}">
                <a16:creationId xmlns:a16="http://schemas.microsoft.com/office/drawing/2014/main" id="{1D1440A0-AB7B-7B41-9342-7B9625AE6D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Left subhead">
            <a:extLst>
              <a:ext uri="{FF2B5EF4-FFF2-40B4-BE49-F238E27FC236}">
                <a16:creationId xmlns:a16="http://schemas.microsoft.com/office/drawing/2014/main" id="{C2947F76-5370-914D-93EF-77EAD0E4D4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1280160"/>
            <a:ext cx="36576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enter subhead">
            <a:extLst>
              <a:ext uri="{FF2B5EF4-FFF2-40B4-BE49-F238E27FC236}">
                <a16:creationId xmlns:a16="http://schemas.microsoft.com/office/drawing/2014/main" id="{6300A2F1-1713-2040-8AA5-9DCC9EEACE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67200" y="1280160"/>
            <a:ext cx="36576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Right subhead">
            <a:extLst>
              <a:ext uri="{FF2B5EF4-FFF2-40B4-BE49-F238E27FC236}">
                <a16:creationId xmlns:a16="http://schemas.microsoft.com/office/drawing/2014/main" id="{6DFCDA5B-4FAE-1741-98C0-0D6B0D1A2C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9600" y="1280160"/>
            <a:ext cx="36576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Left content placeholder">
            <a:extLst>
              <a:ext uri="{FF2B5EF4-FFF2-40B4-BE49-F238E27FC236}">
                <a16:creationId xmlns:a16="http://schemas.microsoft.com/office/drawing/2014/main" id="{16518879-AA98-1641-8DC0-C3BEA167F5E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04800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enter content placeholder">
            <a:extLst>
              <a:ext uri="{FF2B5EF4-FFF2-40B4-BE49-F238E27FC236}">
                <a16:creationId xmlns:a16="http://schemas.microsoft.com/office/drawing/2014/main" id="{BCD6FFB8-0B83-EC4F-A2F0-C205D64B5C5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267200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Right content placeholder">
            <a:extLst>
              <a:ext uri="{FF2B5EF4-FFF2-40B4-BE49-F238E27FC236}">
                <a16:creationId xmlns:a16="http://schemas.microsoft.com/office/drawing/2014/main" id="{640F384C-2913-3940-AD02-B57819DA95A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229600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71614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-presenters-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FFF82D-370F-D746-A4FA-23A8D59237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Section title">
            <a:extLst>
              <a:ext uri="{FF2B5EF4-FFF2-40B4-BE49-F238E27FC236}">
                <a16:creationId xmlns:a16="http://schemas.microsoft.com/office/drawing/2014/main" id="{0AB29E21-D7F7-4544-B708-4EF94DAEC2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2" y="868680"/>
            <a:ext cx="11585448" cy="1499616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7000"/>
              </a:lnSpc>
              <a:defRPr sz="6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Headshot-placeholder-1" hidden="1">
            <a:extLst>
              <a:ext uri="{FF2B5EF4-FFF2-40B4-BE49-F238E27FC236}">
                <a16:creationId xmlns:a16="http://schemas.microsoft.com/office/drawing/2014/main" id="{E36DD2BE-AFAA-2C45-8188-019B4C03735B}"/>
              </a:ext>
            </a:extLst>
          </p:cNvPr>
          <p:cNvSpPr/>
          <p:nvPr userDrawn="1"/>
        </p:nvSpPr>
        <p:spPr>
          <a:xfrm>
            <a:off x="307975" y="2674620"/>
            <a:ext cx="1554480" cy="1554480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chemeClr val="tx1"/>
                </a:solidFill>
                <a:latin typeface="Arial" panose="020B0604020202020204" pitchFamily="34" charset="0"/>
              </a:rPr>
              <a:t>Headshot here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chemeClr val="tx1"/>
                </a:solidFill>
                <a:latin typeface="Arial" panose="020B0604020202020204" pitchFamily="34" charset="0"/>
              </a:rPr>
              <a:t>1.7”</a:t>
            </a:r>
          </a:p>
        </p:txBody>
      </p:sp>
      <p:sp>
        <p:nvSpPr>
          <p:cNvPr id="13" name="Headshot-placeholder-2" hidden="1">
            <a:extLst>
              <a:ext uri="{FF2B5EF4-FFF2-40B4-BE49-F238E27FC236}">
                <a16:creationId xmlns:a16="http://schemas.microsoft.com/office/drawing/2014/main" id="{0BC04F64-2E78-184B-8047-53E18D8AEEB0}"/>
              </a:ext>
            </a:extLst>
          </p:cNvPr>
          <p:cNvSpPr/>
          <p:nvPr userDrawn="1"/>
        </p:nvSpPr>
        <p:spPr>
          <a:xfrm>
            <a:off x="3262461" y="2674620"/>
            <a:ext cx="1554480" cy="1554480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chemeClr val="tx1"/>
                </a:solidFill>
                <a:latin typeface="Arial" panose="020B0604020202020204" pitchFamily="34" charset="0"/>
              </a:rPr>
              <a:t>Headshot here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chemeClr val="tx1"/>
                </a:solidFill>
                <a:latin typeface="Arial" panose="020B0604020202020204" pitchFamily="34" charset="0"/>
              </a:rPr>
              <a:t>1.7”</a:t>
            </a:r>
          </a:p>
        </p:txBody>
      </p:sp>
      <p:sp>
        <p:nvSpPr>
          <p:cNvPr id="20" name="Headshot-placeholder-3" hidden="1">
            <a:extLst>
              <a:ext uri="{FF2B5EF4-FFF2-40B4-BE49-F238E27FC236}">
                <a16:creationId xmlns:a16="http://schemas.microsoft.com/office/drawing/2014/main" id="{228FF5DF-02F3-A04C-9889-2A1E7D9EAD25}"/>
              </a:ext>
            </a:extLst>
          </p:cNvPr>
          <p:cNvSpPr/>
          <p:nvPr userDrawn="1"/>
        </p:nvSpPr>
        <p:spPr>
          <a:xfrm>
            <a:off x="6216947" y="2674620"/>
            <a:ext cx="1554480" cy="1554480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chemeClr val="tx1"/>
                </a:solidFill>
                <a:latin typeface="Arial" panose="020B0604020202020204" pitchFamily="34" charset="0"/>
              </a:rPr>
              <a:t>Headshot here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chemeClr val="tx1"/>
                </a:solidFill>
                <a:latin typeface="Arial" panose="020B0604020202020204" pitchFamily="34" charset="0"/>
              </a:rPr>
              <a:t>1.7”</a:t>
            </a:r>
          </a:p>
        </p:txBody>
      </p:sp>
      <p:sp>
        <p:nvSpPr>
          <p:cNvPr id="21" name="Headshot-placeholder-4" hidden="1">
            <a:extLst>
              <a:ext uri="{FF2B5EF4-FFF2-40B4-BE49-F238E27FC236}">
                <a16:creationId xmlns:a16="http://schemas.microsoft.com/office/drawing/2014/main" id="{580950BB-6B1C-1646-9D45-D457ACA5483F}"/>
              </a:ext>
            </a:extLst>
          </p:cNvPr>
          <p:cNvSpPr/>
          <p:nvPr userDrawn="1"/>
        </p:nvSpPr>
        <p:spPr>
          <a:xfrm>
            <a:off x="9144000" y="2674620"/>
            <a:ext cx="1554480" cy="1554480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chemeClr val="tx1"/>
                </a:solidFill>
                <a:latin typeface="Arial" panose="020B0604020202020204" pitchFamily="34" charset="0"/>
              </a:rPr>
              <a:t>Headshot here</a:t>
            </a:r>
          </a:p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0" i="0" u="none" baseline="0" dirty="0">
                <a:solidFill>
                  <a:schemeClr val="tx1"/>
                </a:solidFill>
                <a:latin typeface="Arial" panose="020B0604020202020204" pitchFamily="34" charset="0"/>
              </a:rPr>
              <a:t>1.7”</a:t>
            </a:r>
          </a:p>
        </p:txBody>
      </p:sp>
      <p:sp>
        <p:nvSpPr>
          <p:cNvPr id="17" name="Presenter-1">
            <a:extLst>
              <a:ext uri="{FF2B5EF4-FFF2-40B4-BE49-F238E27FC236}">
                <a16:creationId xmlns:a16="http://schemas.microsoft.com/office/drawing/2014/main" id="{224B6437-9591-9446-8D11-98EDAAB26B62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307975" y="4480560"/>
            <a:ext cx="2715768" cy="1540111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300"/>
              </a:spcAft>
              <a:defRPr sz="1800" b="1">
                <a:solidFill>
                  <a:schemeClr val="accent3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600" b="0" cap="none" baseline="0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 dirty="0"/>
              <a:t>Name of presenter</a:t>
            </a:r>
          </a:p>
          <a:p>
            <a:pPr lvl="1"/>
            <a:r>
              <a:rPr lang="en-US" dirty="0"/>
              <a:t>Title + company</a:t>
            </a:r>
          </a:p>
        </p:txBody>
      </p:sp>
      <p:sp>
        <p:nvSpPr>
          <p:cNvPr id="19" name="Headshot-1">
            <a:extLst>
              <a:ext uri="{FF2B5EF4-FFF2-40B4-BE49-F238E27FC236}">
                <a16:creationId xmlns:a16="http://schemas.microsoft.com/office/drawing/2014/main" id="{C8B7660E-C5DC-714F-B24C-6757CB8E10E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04800" y="2788920"/>
            <a:ext cx="1554480" cy="1557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quare headshot</a:t>
            </a:r>
          </a:p>
          <a:p>
            <a:r>
              <a:rPr lang="en-US" dirty="0"/>
              <a:t>1.7”</a:t>
            </a:r>
          </a:p>
        </p:txBody>
      </p:sp>
      <p:sp>
        <p:nvSpPr>
          <p:cNvPr id="25" name="Presenter-2">
            <a:extLst>
              <a:ext uri="{FF2B5EF4-FFF2-40B4-BE49-F238E27FC236}">
                <a16:creationId xmlns:a16="http://schemas.microsoft.com/office/drawing/2014/main" id="{A839F86A-50BC-A24C-9C3A-786654DC20C7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3247194" y="4480560"/>
            <a:ext cx="2715768" cy="1540111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300"/>
              </a:spcAft>
              <a:defRPr sz="1800" b="1">
                <a:solidFill>
                  <a:schemeClr val="accent3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600" b="0" cap="none" baseline="0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 dirty="0"/>
              <a:t>Name of presenter</a:t>
            </a:r>
          </a:p>
          <a:p>
            <a:pPr lvl="1"/>
            <a:r>
              <a:rPr lang="en-US" dirty="0"/>
              <a:t>Title + company</a:t>
            </a:r>
          </a:p>
        </p:txBody>
      </p:sp>
      <p:sp>
        <p:nvSpPr>
          <p:cNvPr id="26" name="Headshot-2">
            <a:extLst>
              <a:ext uri="{FF2B5EF4-FFF2-40B4-BE49-F238E27FC236}">
                <a16:creationId xmlns:a16="http://schemas.microsoft.com/office/drawing/2014/main" id="{9BEB2C14-4687-0F46-82F0-DD39077613E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247194" y="2749164"/>
            <a:ext cx="1554480" cy="1557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quare headshot</a:t>
            </a:r>
          </a:p>
          <a:p>
            <a:r>
              <a:rPr lang="en-US" dirty="0"/>
              <a:t>1.7”</a:t>
            </a:r>
          </a:p>
        </p:txBody>
      </p:sp>
      <p:sp>
        <p:nvSpPr>
          <p:cNvPr id="27" name="Presenter-3">
            <a:extLst>
              <a:ext uri="{FF2B5EF4-FFF2-40B4-BE49-F238E27FC236}">
                <a16:creationId xmlns:a16="http://schemas.microsoft.com/office/drawing/2014/main" id="{65E09D54-6730-2B4B-A28D-E2936F01C717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6186413" y="4480560"/>
            <a:ext cx="2715768" cy="1540111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300"/>
              </a:spcAft>
              <a:defRPr sz="1800" b="1">
                <a:solidFill>
                  <a:schemeClr val="accent3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600" b="0" cap="none" baseline="0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 dirty="0"/>
              <a:t>Name of presenter</a:t>
            </a:r>
          </a:p>
          <a:p>
            <a:pPr lvl="1"/>
            <a:r>
              <a:rPr lang="en-US" dirty="0"/>
              <a:t>Title + company</a:t>
            </a:r>
          </a:p>
        </p:txBody>
      </p:sp>
      <p:sp>
        <p:nvSpPr>
          <p:cNvPr id="28" name="Headshot-3">
            <a:extLst>
              <a:ext uri="{FF2B5EF4-FFF2-40B4-BE49-F238E27FC236}">
                <a16:creationId xmlns:a16="http://schemas.microsoft.com/office/drawing/2014/main" id="{59930DA1-24A8-F040-BDCB-634F64ACF39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86413" y="2788920"/>
            <a:ext cx="1554480" cy="1557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quare headshot</a:t>
            </a:r>
          </a:p>
          <a:p>
            <a:r>
              <a:rPr lang="en-US" dirty="0"/>
              <a:t>1.7”</a:t>
            </a:r>
          </a:p>
        </p:txBody>
      </p:sp>
      <p:sp>
        <p:nvSpPr>
          <p:cNvPr id="29" name="Presenter-4">
            <a:extLst>
              <a:ext uri="{FF2B5EF4-FFF2-40B4-BE49-F238E27FC236}">
                <a16:creationId xmlns:a16="http://schemas.microsoft.com/office/drawing/2014/main" id="{87CD5C1E-F014-D143-ACD4-F413142D6D1A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9125632" y="4480560"/>
            <a:ext cx="2715768" cy="1540111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spcAft>
                <a:spcPts val="300"/>
              </a:spcAft>
              <a:defRPr sz="1800" b="1">
                <a:solidFill>
                  <a:schemeClr val="accent3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600" b="0" cap="none" baseline="0">
                <a:solidFill>
                  <a:schemeClr val="accent3"/>
                </a:solidFill>
              </a:defRPr>
            </a:lvl2pPr>
          </a:lstStyle>
          <a:p>
            <a:pPr lvl="0"/>
            <a:r>
              <a:rPr lang="en-US" dirty="0"/>
              <a:t>Name of presenter</a:t>
            </a:r>
          </a:p>
          <a:p>
            <a:pPr lvl="1"/>
            <a:r>
              <a:rPr lang="en-US" dirty="0"/>
              <a:t>Title + company</a:t>
            </a:r>
          </a:p>
        </p:txBody>
      </p:sp>
      <p:sp>
        <p:nvSpPr>
          <p:cNvPr id="30" name="Headshot-4">
            <a:extLst>
              <a:ext uri="{FF2B5EF4-FFF2-40B4-BE49-F238E27FC236}">
                <a16:creationId xmlns:a16="http://schemas.microsoft.com/office/drawing/2014/main" id="{02E54B24-A549-1449-982A-2E719F38432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125632" y="2788920"/>
            <a:ext cx="1554480" cy="1557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quare headshot</a:t>
            </a:r>
          </a:p>
          <a:p>
            <a:r>
              <a:rPr lang="en-US" dirty="0"/>
              <a:t>1.7”</a:t>
            </a:r>
          </a:p>
        </p:txBody>
      </p:sp>
    </p:spTree>
    <p:extLst>
      <p:ext uri="{BB962C8B-B14F-4D97-AF65-F5344CB8AC3E}">
        <p14:creationId xmlns:p14="http://schemas.microsoft.com/office/powerpoint/2010/main" val="289360622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-column-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D1FC5C-F0FA-4149-ACAF-1D23E4B7E9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1F095AE-5F5B-674B-9C69-F109A1070F9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ootnotes or source">
            <a:extLst>
              <a:ext uri="{FF2B5EF4-FFF2-40B4-BE49-F238E27FC236}">
                <a16:creationId xmlns:a16="http://schemas.microsoft.com/office/drawing/2014/main" id="{A89C7DBD-9459-B74D-BF3C-5803BE05F56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ubhead">
            <a:extLst>
              <a:ext uri="{FF2B5EF4-FFF2-40B4-BE49-F238E27FC236}">
                <a16:creationId xmlns:a16="http://schemas.microsoft.com/office/drawing/2014/main" id="{E26904AC-13F7-054C-89E2-938B6AFBFA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1752" y="1280160"/>
            <a:ext cx="11585448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Left content placeholder">
            <a:extLst>
              <a:ext uri="{FF2B5EF4-FFF2-40B4-BE49-F238E27FC236}">
                <a16:creationId xmlns:a16="http://schemas.microsoft.com/office/drawing/2014/main" id="{FC55EB2B-6BCB-AA44-90EA-AACC4472181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01752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enter content placeholder">
            <a:extLst>
              <a:ext uri="{FF2B5EF4-FFF2-40B4-BE49-F238E27FC236}">
                <a16:creationId xmlns:a16="http://schemas.microsoft.com/office/drawing/2014/main" id="{5B734D07-C029-714D-88BC-2BD9E017839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265676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ight content placeholder">
            <a:extLst>
              <a:ext uri="{FF2B5EF4-FFF2-40B4-BE49-F238E27FC236}">
                <a16:creationId xmlns:a16="http://schemas.microsoft.com/office/drawing/2014/main" id="{BE77EBC8-92AF-2047-9CCA-C475702A717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29600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964031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-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1C889E-571E-7D4A-8DE8-201E16D5F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7FE29D-459F-CC40-84A4-87E8C1F136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ootnotes or source">
            <a:extLst>
              <a:ext uri="{FF2B5EF4-FFF2-40B4-BE49-F238E27FC236}">
                <a16:creationId xmlns:a16="http://schemas.microsoft.com/office/drawing/2014/main" id="{C5495C87-5455-7342-9158-84E948B63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op left subhead">
            <a:extLst>
              <a:ext uri="{FF2B5EF4-FFF2-40B4-BE49-F238E27FC236}">
                <a16:creationId xmlns:a16="http://schemas.microsoft.com/office/drawing/2014/main" id="{789677A3-7A85-904B-95F1-0B09C4921C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1280160"/>
            <a:ext cx="57150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op right subhead">
            <a:extLst>
              <a:ext uri="{FF2B5EF4-FFF2-40B4-BE49-F238E27FC236}">
                <a16:creationId xmlns:a16="http://schemas.microsoft.com/office/drawing/2014/main" id="{4994A87C-7020-624C-9C30-4CBBCF35A5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72200" y="1280160"/>
            <a:ext cx="57150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Bottom left subhead">
            <a:extLst>
              <a:ext uri="{FF2B5EF4-FFF2-40B4-BE49-F238E27FC236}">
                <a16:creationId xmlns:a16="http://schemas.microsoft.com/office/drawing/2014/main" id="{4F31C991-478D-5A4C-8B25-3481D35319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3636818"/>
            <a:ext cx="57150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Bottom right subhead">
            <a:extLst>
              <a:ext uri="{FF2B5EF4-FFF2-40B4-BE49-F238E27FC236}">
                <a16:creationId xmlns:a16="http://schemas.microsoft.com/office/drawing/2014/main" id="{83A468F3-D0EF-3D40-ABA2-40126D955E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72200" y="3636818"/>
            <a:ext cx="57150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op left content placeholder">
            <a:extLst>
              <a:ext uri="{FF2B5EF4-FFF2-40B4-BE49-F238E27FC236}">
                <a16:creationId xmlns:a16="http://schemas.microsoft.com/office/drawing/2014/main" id="{C5C75857-6908-EC48-BD0B-C345F186CCE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04800" y="1737360"/>
            <a:ext cx="5715000" cy="16824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op right content placeholder">
            <a:extLst>
              <a:ext uri="{FF2B5EF4-FFF2-40B4-BE49-F238E27FC236}">
                <a16:creationId xmlns:a16="http://schemas.microsoft.com/office/drawing/2014/main" id="{223B08B0-B078-7345-BFFF-9245EAAB7A6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72200" y="1737360"/>
            <a:ext cx="5715000" cy="16824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Bottom left content placeholder">
            <a:extLst>
              <a:ext uri="{FF2B5EF4-FFF2-40B4-BE49-F238E27FC236}">
                <a16:creationId xmlns:a16="http://schemas.microsoft.com/office/drawing/2014/main" id="{2E45EAB5-8BCA-044F-9D5B-9FD8315F0D7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04800" y="4119401"/>
            <a:ext cx="5715000" cy="16824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Bottom right content placeholder">
            <a:extLst>
              <a:ext uri="{FF2B5EF4-FFF2-40B4-BE49-F238E27FC236}">
                <a16:creationId xmlns:a16="http://schemas.microsoft.com/office/drawing/2014/main" id="{AEB0F400-5157-C648-AF32-A6BC0A9A5380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75375" y="4119401"/>
            <a:ext cx="5711825" cy="16824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51572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thirds-one-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D76D7C-F546-434F-BC32-6664DE764B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304800"/>
            <a:ext cx="11582400" cy="82905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034EE0-E276-4846-9EBB-792D1E3B5C4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wo-thirds">
            <a:extLst>
              <a:ext uri="{FF2B5EF4-FFF2-40B4-BE49-F238E27FC236}">
                <a16:creationId xmlns:a16="http://schemas.microsoft.com/office/drawing/2014/main" id="{2307E025-F984-B547-B8FE-4DFD8D278C7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04800" y="1280160"/>
            <a:ext cx="73152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notes or source">
            <a:extLst>
              <a:ext uri="{FF2B5EF4-FFF2-40B4-BE49-F238E27FC236}">
                <a16:creationId xmlns:a16="http://schemas.microsoft.com/office/drawing/2014/main" id="{19111FEC-5E95-154F-AD6E-0AB8CF8CFE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one-third">
            <a:extLst>
              <a:ext uri="{FF2B5EF4-FFF2-40B4-BE49-F238E27FC236}">
                <a16:creationId xmlns:a16="http://schemas.microsoft.com/office/drawing/2014/main" id="{A4C4C8B2-407B-FC41-8F6C-EAEA35958D9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992931" y="1280160"/>
            <a:ext cx="38862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89142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thirds-one-third-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8334B2-B6CC-4E4B-AA70-37222D9BC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ACA5E4-4D2A-A74C-867C-7FE8FBD228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Subhead">
            <a:extLst>
              <a:ext uri="{FF2B5EF4-FFF2-40B4-BE49-F238E27FC236}">
                <a16:creationId xmlns:a16="http://schemas.microsoft.com/office/drawing/2014/main" id="{48ACD544-818F-FF4C-B914-F51EB64D062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2" y="1280160"/>
            <a:ext cx="11585448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wo-thirds">
            <a:extLst>
              <a:ext uri="{FF2B5EF4-FFF2-40B4-BE49-F238E27FC236}">
                <a16:creationId xmlns:a16="http://schemas.microsoft.com/office/drawing/2014/main" id="{E7DA6189-54EE-8C42-9D91-426B6022325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98450" y="1737360"/>
            <a:ext cx="73152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one-third">
            <a:extLst>
              <a:ext uri="{FF2B5EF4-FFF2-40B4-BE49-F238E27FC236}">
                <a16:creationId xmlns:a16="http://schemas.microsoft.com/office/drawing/2014/main" id="{9440345A-4A21-054A-A0DF-803C4368DBC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024145" y="1737360"/>
            <a:ext cx="38862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notes or source">
            <a:extLst>
              <a:ext uri="{FF2B5EF4-FFF2-40B4-BE49-F238E27FC236}">
                <a16:creationId xmlns:a16="http://schemas.microsoft.com/office/drawing/2014/main" id="{342FD89A-EBB3-F646-9AA2-A2F24E8D7F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9564468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5BCD3-73BA-4B4E-9EF1-EC3DA83876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49F419-CCB6-1B42-9B81-974A6973C6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ootnotes or source">
            <a:extLst>
              <a:ext uri="{FF2B5EF4-FFF2-40B4-BE49-F238E27FC236}">
                <a16:creationId xmlns:a16="http://schemas.microsoft.com/office/drawing/2014/main" id="{60C66321-19D3-D443-AF24-CDD6909001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6549551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3E326F-9FAA-754E-A228-EA0A6E74CE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ootnotes or source">
            <a:extLst>
              <a:ext uri="{FF2B5EF4-FFF2-40B4-BE49-F238E27FC236}">
                <a16:creationId xmlns:a16="http://schemas.microsoft.com/office/drawing/2014/main" id="{822FE04D-686B-AA46-A1D1-98A22AB5F2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2375861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-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7C1F90-74CE-46A5-9B58-CB35D7F225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R INTERNAL USE ONLY. DO NOT DISTRIBUTE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84764A-02E2-42BD-BF78-D3ED6EF407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D16FED-0390-46B9-8778-12BBB59FC940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D0FADA4-80F4-4169-9E4D-1B6800C340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07058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CBDF69-54EE-46EF-94C6-8DC262A94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113BE4-C893-4114-A3D7-1FD86D104D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349" y="1825625"/>
            <a:ext cx="10431451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559C3D-FF26-4677-8F70-FBF0A7F8B4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C194B9-EF50-4755-B8A4-7BCBB7942684}" type="datetimeFigureOut">
              <a:rPr lang="en-US" smtClean="0"/>
              <a:t>12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65F31B-DDD2-465B-84F0-91AB1757DF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F40FEA-543C-4197-AF54-816AA45519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44C373-CC0E-4F1B-869F-33650B7518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29674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-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esentation title">
            <a:extLst>
              <a:ext uri="{FF2B5EF4-FFF2-40B4-BE49-F238E27FC236}">
                <a16:creationId xmlns:a16="http://schemas.microsoft.com/office/drawing/2014/main" id="{C8A38BA2-F1A3-D44C-97C6-9C453D5050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926080"/>
            <a:ext cx="11582400" cy="830997"/>
          </a:xfrm>
        </p:spPr>
        <p:txBody>
          <a:bodyPr>
            <a:spAutoFit/>
          </a:bodyPr>
          <a:lstStyle>
            <a:lvl1pPr>
              <a:lnSpc>
                <a:spcPct val="87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04B1E7F7-EFC6-CD44-AA19-B41F7657D7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Subtitle or name of presenter">
            <a:extLst>
              <a:ext uri="{FF2B5EF4-FFF2-40B4-BE49-F238E27FC236}">
                <a16:creationId xmlns:a16="http://schemas.microsoft.com/office/drawing/2014/main" id="{DBFA04A7-365B-334F-AF7E-F9202BC433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2" y="3851939"/>
            <a:ext cx="7760580" cy="307777"/>
          </a:xfrm>
        </p:spPr>
        <p:txBody>
          <a:bodyPr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Date placeholder">
            <a:extLst>
              <a:ext uri="{FF2B5EF4-FFF2-40B4-BE49-F238E27FC236}">
                <a16:creationId xmlns:a16="http://schemas.microsoft.com/office/drawing/2014/main" id="{23946FD1-793E-6A45-9987-8443E3E102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71465" y="3892329"/>
            <a:ext cx="3712687" cy="246221"/>
          </a:xfrm>
        </p:spPr>
        <p:txBody>
          <a:bodyPr wrap="square" anchor="b">
            <a:spAutoFit/>
          </a:bodyPr>
          <a:lstStyle>
            <a:lvl1pPr algn="r">
              <a:defRPr sz="1600" b="1" cap="all" baseline="0">
                <a:solidFill>
                  <a:schemeClr val="accent4"/>
                </a:solidFill>
              </a:defRPr>
            </a:lvl1pPr>
            <a:lvl2pPr algn="r"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FS-logo">
            <a:extLst>
              <a:ext uri="{FF2B5EF4-FFF2-40B4-BE49-F238E27FC236}">
                <a16:creationId xmlns:a16="http://schemas.microsoft.com/office/drawing/2014/main" id="{C889D9D3-0468-1049-81C8-A6D513A742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12274" cy="1600200"/>
          </a:xfrm>
          <a:prstGeom prst="rect">
            <a:avLst/>
          </a:prstGeom>
          <a:noFill/>
        </p:spPr>
      </p:pic>
      <p:pic>
        <p:nvPicPr>
          <p:cNvPr id="7" name="FS-logo">
            <a:extLst>
              <a:ext uri="{FF2B5EF4-FFF2-40B4-BE49-F238E27FC236}">
                <a16:creationId xmlns:a16="http://schemas.microsoft.com/office/drawing/2014/main" id="{CD13599E-D076-D748-BAF9-4C2F5319C0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812274" cy="16002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35218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92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28BE79BD-79B9-3F46-A895-F988891529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One-column placeholder">
            <a:extLst>
              <a:ext uri="{FF2B5EF4-FFF2-40B4-BE49-F238E27FC236}">
                <a16:creationId xmlns:a16="http://schemas.microsoft.com/office/drawing/2014/main" id="{4AC2727B-E6D9-134E-8ADF-A4826675688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01752" y="1280160"/>
            <a:ext cx="11585575" cy="4572000"/>
          </a:xfrm>
        </p:spPr>
        <p:txBody>
          <a:bodyPr/>
          <a:lstStyle>
            <a:lvl2pPr>
              <a:lnSpc>
                <a:spcPct val="92000"/>
              </a:lnSpc>
              <a:spcBef>
                <a:spcPts val="400"/>
              </a:spcBef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notes or source">
            <a:extLst>
              <a:ext uri="{FF2B5EF4-FFF2-40B4-BE49-F238E27FC236}">
                <a16:creationId xmlns:a16="http://schemas.microsoft.com/office/drawing/2014/main" id="{AEBE4842-989F-3F4A-BD20-AF5820F397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72C22BEF-E9EC-3247-9181-5C9177B2B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656988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-section-divider_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-mask">
            <a:extLst>
              <a:ext uri="{FF2B5EF4-FFF2-40B4-BE49-F238E27FC236}">
                <a16:creationId xmlns:a16="http://schemas.microsoft.com/office/drawing/2014/main" id="{896380FA-C751-394F-AF43-890CE877D65E}"/>
              </a:ext>
            </a:extLst>
          </p:cNvPr>
          <p:cNvSpPr/>
          <p:nvPr userDrawn="1"/>
        </p:nvSpPr>
        <p:spPr>
          <a:xfrm>
            <a:off x="3172178" y="1"/>
            <a:ext cx="901982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FFF82D-370F-D746-A4FA-23A8D59237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3" name="Presenter-1">
            <a:extLst>
              <a:ext uri="{FF2B5EF4-FFF2-40B4-BE49-F238E27FC236}">
                <a16:creationId xmlns:a16="http://schemas.microsoft.com/office/drawing/2014/main" id="{33902287-1F89-F548-A47A-EC49C46CF6B9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307975" y="2922800"/>
            <a:ext cx="2715768" cy="1540111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sz="1800" b="1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600"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Name of presenter</a:t>
            </a:r>
          </a:p>
          <a:p>
            <a:pPr lvl="1"/>
            <a:r>
              <a:rPr lang="en-US" dirty="0"/>
              <a:t>Title + company</a:t>
            </a:r>
          </a:p>
        </p:txBody>
      </p:sp>
      <p:sp>
        <p:nvSpPr>
          <p:cNvPr id="24" name="Headshot-1">
            <a:extLst>
              <a:ext uri="{FF2B5EF4-FFF2-40B4-BE49-F238E27FC236}">
                <a16:creationId xmlns:a16="http://schemas.microsoft.com/office/drawing/2014/main" id="{D8E96CB3-5D9D-A341-B02E-FCA335469C5A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04800" y="1219200"/>
            <a:ext cx="1554480" cy="1557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quare headshot</a:t>
            </a:r>
          </a:p>
          <a:p>
            <a:r>
              <a:rPr lang="en-US" dirty="0"/>
              <a:t>1.7”</a:t>
            </a:r>
          </a:p>
        </p:txBody>
      </p:sp>
      <p:sp>
        <p:nvSpPr>
          <p:cNvPr id="9" name="Title-of-Section">
            <a:extLst>
              <a:ext uri="{FF2B5EF4-FFF2-40B4-BE49-F238E27FC236}">
                <a16:creationId xmlns:a16="http://schemas.microsoft.com/office/drawing/2014/main" id="{6662A2C2-7437-8142-B87C-0479C8F35D0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592513" y="1219200"/>
            <a:ext cx="8294687" cy="437673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87000"/>
              </a:lnSpc>
              <a:defRPr sz="6000" b="1">
                <a:solidFill>
                  <a:schemeClr val="bg1"/>
                </a:solidFill>
              </a:defRPr>
            </a:lvl1pPr>
            <a:lvl2pPr>
              <a:lnSpc>
                <a:spcPct val="92000"/>
              </a:lnSpc>
              <a:spcBef>
                <a:spcPts val="0"/>
              </a:spcBef>
              <a:defRPr sz="1700" spc="10" baseline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13752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-column-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ne-column subhead">
            <a:extLst>
              <a:ext uri="{FF2B5EF4-FFF2-40B4-BE49-F238E27FC236}">
                <a16:creationId xmlns:a16="http://schemas.microsoft.com/office/drawing/2014/main" id="{7F98CD30-9A2E-4A49-8E01-F156C7C0A5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2" y="1280160"/>
            <a:ext cx="11585448" cy="365760"/>
          </a:xfrm>
        </p:spPr>
        <p:txBody>
          <a:bodyPr wrap="square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D8D15E5A-6B9F-2E48-A8F2-A35E85136B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One-column placeholder">
            <a:extLst>
              <a:ext uri="{FF2B5EF4-FFF2-40B4-BE49-F238E27FC236}">
                <a16:creationId xmlns:a16="http://schemas.microsoft.com/office/drawing/2014/main" id="{C3021731-334E-CD47-A48A-2F96680C778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1752" y="1737360"/>
            <a:ext cx="11585448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notes or source">
            <a:extLst>
              <a:ext uri="{FF2B5EF4-FFF2-40B4-BE49-F238E27FC236}">
                <a16:creationId xmlns:a16="http://schemas.microsoft.com/office/drawing/2014/main" id="{B79268D5-FDCB-6B45-B4D0-20E01F75F1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36005B27-94D6-6D4B-B596-B49DEBB6BA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7921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28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0FB2CE31-8DD1-4841-9581-CEAA9A9BA5F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Right content placeholder">
            <a:extLst>
              <a:ext uri="{FF2B5EF4-FFF2-40B4-BE49-F238E27FC236}">
                <a16:creationId xmlns:a16="http://schemas.microsoft.com/office/drawing/2014/main" id="{BEBDBBE3-07B1-DD46-8A84-1F365037F7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01752" y="1280160"/>
            <a:ext cx="57150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Left content placeholder">
            <a:extLst>
              <a:ext uri="{FF2B5EF4-FFF2-40B4-BE49-F238E27FC236}">
                <a16:creationId xmlns:a16="http://schemas.microsoft.com/office/drawing/2014/main" id="{162772BE-D1F5-564F-A0E5-4433C1889B4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72200" y="1280160"/>
            <a:ext cx="57150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notes or source">
            <a:extLst>
              <a:ext uri="{FF2B5EF4-FFF2-40B4-BE49-F238E27FC236}">
                <a16:creationId xmlns:a16="http://schemas.microsoft.com/office/drawing/2014/main" id="{9B1839EE-C6EC-E040-88D5-F9875A7338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74A33FDE-63DB-E246-96BF-9458DB6F07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72391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88">
          <p15:clr>
            <a:srgbClr val="FBAE40"/>
          </p15:clr>
        </p15:guide>
        <p15:guide id="4" pos="3792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lumn-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3B8F69B0-2DC7-F54B-8D92-29AA818936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Left content placeholder">
            <a:extLst>
              <a:ext uri="{FF2B5EF4-FFF2-40B4-BE49-F238E27FC236}">
                <a16:creationId xmlns:a16="http://schemas.microsoft.com/office/drawing/2014/main" id="{C214F381-465F-8E4A-8D89-8AE3BFA8A55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72200" y="1737360"/>
            <a:ext cx="57150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Right content placeholder">
            <a:extLst>
              <a:ext uri="{FF2B5EF4-FFF2-40B4-BE49-F238E27FC236}">
                <a16:creationId xmlns:a16="http://schemas.microsoft.com/office/drawing/2014/main" id="{871737ED-DD0A-C04D-A12B-F34BC71D1B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1752" y="1737360"/>
            <a:ext cx="5711825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notes or source">
            <a:extLst>
              <a:ext uri="{FF2B5EF4-FFF2-40B4-BE49-F238E27FC236}">
                <a16:creationId xmlns:a16="http://schemas.microsoft.com/office/drawing/2014/main" id="{C393E3FC-DE49-C442-BFAE-6022D06DA2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Left subhead">
            <a:extLst>
              <a:ext uri="{FF2B5EF4-FFF2-40B4-BE49-F238E27FC236}">
                <a16:creationId xmlns:a16="http://schemas.microsoft.com/office/drawing/2014/main" id="{0D694C0C-C640-AA44-8A0B-13D281A27F73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04800" y="1280160"/>
            <a:ext cx="5715000" cy="365760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Right subhead">
            <a:extLst>
              <a:ext uri="{FF2B5EF4-FFF2-40B4-BE49-F238E27FC236}">
                <a16:creationId xmlns:a16="http://schemas.microsoft.com/office/drawing/2014/main" id="{A84D9522-E9B4-BE46-8B38-EC5855EA807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72200" y="1280160"/>
            <a:ext cx="57150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67ED532-92A1-124C-BB7A-A63781F60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074669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lumn-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A50DC8-5359-1546-8C4C-8C82C12AA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E7780BC-407E-2649-942A-916BC2B0CA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Subhead">
            <a:extLst>
              <a:ext uri="{FF2B5EF4-FFF2-40B4-BE49-F238E27FC236}">
                <a16:creationId xmlns:a16="http://schemas.microsoft.com/office/drawing/2014/main" id="{0CCF0C6D-1A43-7B44-9B13-A11188AD68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2" y="1280160"/>
            <a:ext cx="11603736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Left content placeholder">
            <a:extLst>
              <a:ext uri="{FF2B5EF4-FFF2-40B4-BE49-F238E27FC236}">
                <a16:creationId xmlns:a16="http://schemas.microsoft.com/office/drawing/2014/main" id="{5D0604E5-37FC-8F4D-B549-4B16F8E072C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72200" y="1737360"/>
            <a:ext cx="57150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ight content placeholder">
            <a:extLst>
              <a:ext uri="{FF2B5EF4-FFF2-40B4-BE49-F238E27FC236}">
                <a16:creationId xmlns:a16="http://schemas.microsoft.com/office/drawing/2014/main" id="{C0E1580D-59C8-9847-A3D5-17D37C5BEC2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1752" y="1737360"/>
            <a:ext cx="57150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Footnotes or source">
            <a:extLst>
              <a:ext uri="{FF2B5EF4-FFF2-40B4-BE49-F238E27FC236}">
                <a16:creationId xmlns:a16="http://schemas.microsoft.com/office/drawing/2014/main" id="{FB82E3A6-52E7-474C-9A10-B758D0B419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9673377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os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D31A6AF2-5E57-1B45-96DE-4558E28909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FA34FA3-6CA4-144F-B9EA-57F1F4681E4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1280160"/>
            <a:ext cx="11582400" cy="5129213"/>
          </a:xfrm>
        </p:spPr>
        <p:txBody>
          <a:bodyPr/>
          <a:lstStyle>
            <a:lvl1pPr>
              <a:defRPr sz="1200" b="0" i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  <a:defRPr sz="1200" b="0" i="0" cap="none" baseline="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>
              <a:spcBef>
                <a:spcPts val="2000"/>
              </a:spcBef>
              <a:spcAft>
                <a:spcPts val="0"/>
              </a:spcAft>
              <a:defRPr sz="1600" b="1" cap="all" baseline="0"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buNone/>
              <a:tabLst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3A65A8AF-6001-B745-B55F-B442165EB3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6898474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C59FC182-812F-4948-A8A4-06F7421F68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Center content placeholder">
            <a:extLst>
              <a:ext uri="{FF2B5EF4-FFF2-40B4-BE49-F238E27FC236}">
                <a16:creationId xmlns:a16="http://schemas.microsoft.com/office/drawing/2014/main" id="{3020EBA3-5E07-6049-88CA-B5472C3B9B0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67200" y="1280160"/>
            <a:ext cx="36576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Left content placeholder">
            <a:extLst>
              <a:ext uri="{FF2B5EF4-FFF2-40B4-BE49-F238E27FC236}">
                <a16:creationId xmlns:a16="http://schemas.microsoft.com/office/drawing/2014/main" id="{8E0377EE-5CCC-C340-98CD-E9CDC9C5D64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04800" y="1280160"/>
            <a:ext cx="36576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notes or source">
            <a:extLst>
              <a:ext uri="{FF2B5EF4-FFF2-40B4-BE49-F238E27FC236}">
                <a16:creationId xmlns:a16="http://schemas.microsoft.com/office/drawing/2014/main" id="{F5215A33-0067-2D40-BBAE-3B4519A6EB0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A392300C-C5A2-C645-AD76-B2A060DAA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Right content placeholder">
            <a:extLst>
              <a:ext uri="{FF2B5EF4-FFF2-40B4-BE49-F238E27FC236}">
                <a16:creationId xmlns:a16="http://schemas.microsoft.com/office/drawing/2014/main" id="{9B0D9352-176F-4245-B2E3-2C9390BC6A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29600" y="1280160"/>
            <a:ext cx="36576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22227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-column-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382B0-0B2B-5848-8036-F3F2ED6F72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110950-8756-0E48-AD9C-404B7F8E158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ootnotes or source">
            <a:extLst>
              <a:ext uri="{FF2B5EF4-FFF2-40B4-BE49-F238E27FC236}">
                <a16:creationId xmlns:a16="http://schemas.microsoft.com/office/drawing/2014/main" id="{1D1440A0-AB7B-7B41-9342-7B9625AE6D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Left subhead">
            <a:extLst>
              <a:ext uri="{FF2B5EF4-FFF2-40B4-BE49-F238E27FC236}">
                <a16:creationId xmlns:a16="http://schemas.microsoft.com/office/drawing/2014/main" id="{C2947F76-5370-914D-93EF-77EAD0E4D4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1280160"/>
            <a:ext cx="36576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enter subhead">
            <a:extLst>
              <a:ext uri="{FF2B5EF4-FFF2-40B4-BE49-F238E27FC236}">
                <a16:creationId xmlns:a16="http://schemas.microsoft.com/office/drawing/2014/main" id="{6300A2F1-1713-2040-8AA5-9DCC9EEACE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67200" y="1280160"/>
            <a:ext cx="36576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Right subhead">
            <a:extLst>
              <a:ext uri="{FF2B5EF4-FFF2-40B4-BE49-F238E27FC236}">
                <a16:creationId xmlns:a16="http://schemas.microsoft.com/office/drawing/2014/main" id="{6DFCDA5B-4FAE-1741-98C0-0D6B0D1A2C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29600" y="1280160"/>
            <a:ext cx="36576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Left content placeholder">
            <a:extLst>
              <a:ext uri="{FF2B5EF4-FFF2-40B4-BE49-F238E27FC236}">
                <a16:creationId xmlns:a16="http://schemas.microsoft.com/office/drawing/2014/main" id="{16518879-AA98-1641-8DC0-C3BEA167F5E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04800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enter content placeholder">
            <a:extLst>
              <a:ext uri="{FF2B5EF4-FFF2-40B4-BE49-F238E27FC236}">
                <a16:creationId xmlns:a16="http://schemas.microsoft.com/office/drawing/2014/main" id="{BCD6FFB8-0B83-EC4F-A2F0-C205D64B5C5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267200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Right content placeholder">
            <a:extLst>
              <a:ext uri="{FF2B5EF4-FFF2-40B4-BE49-F238E27FC236}">
                <a16:creationId xmlns:a16="http://schemas.microsoft.com/office/drawing/2014/main" id="{640F384C-2913-3940-AD02-B57819DA95A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229600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252794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-column-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D1FC5C-F0FA-4149-ACAF-1D23E4B7E9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1F095AE-5F5B-674B-9C69-F109A1070F9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ootnotes or source">
            <a:extLst>
              <a:ext uri="{FF2B5EF4-FFF2-40B4-BE49-F238E27FC236}">
                <a16:creationId xmlns:a16="http://schemas.microsoft.com/office/drawing/2014/main" id="{A89C7DBD-9459-B74D-BF3C-5803BE05F56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ubhead">
            <a:extLst>
              <a:ext uri="{FF2B5EF4-FFF2-40B4-BE49-F238E27FC236}">
                <a16:creationId xmlns:a16="http://schemas.microsoft.com/office/drawing/2014/main" id="{E26904AC-13F7-054C-89E2-938B6AFBFA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1752" y="1280160"/>
            <a:ext cx="11585448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Left content placeholder">
            <a:extLst>
              <a:ext uri="{FF2B5EF4-FFF2-40B4-BE49-F238E27FC236}">
                <a16:creationId xmlns:a16="http://schemas.microsoft.com/office/drawing/2014/main" id="{FC55EB2B-6BCB-AA44-90EA-AACC4472181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01752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enter content placeholder">
            <a:extLst>
              <a:ext uri="{FF2B5EF4-FFF2-40B4-BE49-F238E27FC236}">
                <a16:creationId xmlns:a16="http://schemas.microsoft.com/office/drawing/2014/main" id="{5B734D07-C029-714D-88BC-2BD9E017839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265676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ight content placeholder">
            <a:extLst>
              <a:ext uri="{FF2B5EF4-FFF2-40B4-BE49-F238E27FC236}">
                <a16:creationId xmlns:a16="http://schemas.microsoft.com/office/drawing/2014/main" id="{BE77EBC8-92AF-2047-9CCA-C475702A717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29600" y="1737360"/>
            <a:ext cx="36576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718073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-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1C889E-571E-7D4A-8DE8-201E16D5F9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7FE29D-459F-CC40-84A4-87E8C1F136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Footnotes or source">
            <a:extLst>
              <a:ext uri="{FF2B5EF4-FFF2-40B4-BE49-F238E27FC236}">
                <a16:creationId xmlns:a16="http://schemas.microsoft.com/office/drawing/2014/main" id="{C5495C87-5455-7342-9158-84E948B639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op left subhead">
            <a:extLst>
              <a:ext uri="{FF2B5EF4-FFF2-40B4-BE49-F238E27FC236}">
                <a16:creationId xmlns:a16="http://schemas.microsoft.com/office/drawing/2014/main" id="{789677A3-7A85-904B-95F1-0B09C4921C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" y="1280160"/>
            <a:ext cx="57150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op right subhead">
            <a:extLst>
              <a:ext uri="{FF2B5EF4-FFF2-40B4-BE49-F238E27FC236}">
                <a16:creationId xmlns:a16="http://schemas.microsoft.com/office/drawing/2014/main" id="{4994A87C-7020-624C-9C30-4CBBCF35A5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72200" y="1280160"/>
            <a:ext cx="57150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Bottom left subhead">
            <a:extLst>
              <a:ext uri="{FF2B5EF4-FFF2-40B4-BE49-F238E27FC236}">
                <a16:creationId xmlns:a16="http://schemas.microsoft.com/office/drawing/2014/main" id="{4F31C991-478D-5A4C-8B25-3481D35319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3636818"/>
            <a:ext cx="57150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Bottom right subhead">
            <a:extLst>
              <a:ext uri="{FF2B5EF4-FFF2-40B4-BE49-F238E27FC236}">
                <a16:creationId xmlns:a16="http://schemas.microsoft.com/office/drawing/2014/main" id="{83A468F3-D0EF-3D40-ABA2-40126D955E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72200" y="3636818"/>
            <a:ext cx="57150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op left content placeholder">
            <a:extLst>
              <a:ext uri="{FF2B5EF4-FFF2-40B4-BE49-F238E27FC236}">
                <a16:creationId xmlns:a16="http://schemas.microsoft.com/office/drawing/2014/main" id="{C5C75857-6908-EC48-BD0B-C345F186CCE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04800" y="1737360"/>
            <a:ext cx="5715000" cy="16824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op right content placeholder">
            <a:extLst>
              <a:ext uri="{FF2B5EF4-FFF2-40B4-BE49-F238E27FC236}">
                <a16:creationId xmlns:a16="http://schemas.microsoft.com/office/drawing/2014/main" id="{223B08B0-B078-7345-BFFF-9245EAAB7A6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72200" y="1737360"/>
            <a:ext cx="5715000" cy="16824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Bottom left content placeholder">
            <a:extLst>
              <a:ext uri="{FF2B5EF4-FFF2-40B4-BE49-F238E27FC236}">
                <a16:creationId xmlns:a16="http://schemas.microsoft.com/office/drawing/2014/main" id="{2E45EAB5-8BCA-044F-9D5B-9FD8315F0D7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04800" y="4119401"/>
            <a:ext cx="5715000" cy="16824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Bottom right content placeholder">
            <a:extLst>
              <a:ext uri="{FF2B5EF4-FFF2-40B4-BE49-F238E27FC236}">
                <a16:creationId xmlns:a16="http://schemas.microsoft.com/office/drawing/2014/main" id="{AEB0F400-5157-C648-AF32-A6BC0A9A5380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75375" y="4119401"/>
            <a:ext cx="5711825" cy="16824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337356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thirds-one-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D76D7C-F546-434F-BC32-6664DE764B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304800"/>
            <a:ext cx="11582400" cy="82905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034EE0-E276-4846-9EBB-792D1E3B5C4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wo-thirds">
            <a:extLst>
              <a:ext uri="{FF2B5EF4-FFF2-40B4-BE49-F238E27FC236}">
                <a16:creationId xmlns:a16="http://schemas.microsoft.com/office/drawing/2014/main" id="{2307E025-F984-B547-B8FE-4DFD8D278C7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04800" y="1280160"/>
            <a:ext cx="73152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notes or source">
            <a:extLst>
              <a:ext uri="{FF2B5EF4-FFF2-40B4-BE49-F238E27FC236}">
                <a16:creationId xmlns:a16="http://schemas.microsoft.com/office/drawing/2014/main" id="{19111FEC-5E95-154F-AD6E-0AB8CF8CFE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one-third">
            <a:extLst>
              <a:ext uri="{FF2B5EF4-FFF2-40B4-BE49-F238E27FC236}">
                <a16:creationId xmlns:a16="http://schemas.microsoft.com/office/drawing/2014/main" id="{A4C4C8B2-407B-FC41-8F6C-EAEA35958D9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992931" y="1280160"/>
            <a:ext cx="38862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0807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-section-divider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-mask">
            <a:extLst>
              <a:ext uri="{FF2B5EF4-FFF2-40B4-BE49-F238E27FC236}">
                <a16:creationId xmlns:a16="http://schemas.microsoft.com/office/drawing/2014/main" id="{896380FA-C751-394F-AF43-890CE877D65E}"/>
              </a:ext>
            </a:extLst>
          </p:cNvPr>
          <p:cNvSpPr/>
          <p:nvPr userDrawn="1"/>
        </p:nvSpPr>
        <p:spPr>
          <a:xfrm>
            <a:off x="3172178" y="1"/>
            <a:ext cx="901982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FFF82D-370F-D746-A4FA-23A8D59237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3" name="Presenter-1">
            <a:extLst>
              <a:ext uri="{FF2B5EF4-FFF2-40B4-BE49-F238E27FC236}">
                <a16:creationId xmlns:a16="http://schemas.microsoft.com/office/drawing/2014/main" id="{33902287-1F89-F548-A47A-EC49C46CF6B9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307975" y="2922800"/>
            <a:ext cx="2715768" cy="1540111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sz="1800" b="1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600" b="0" cap="none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Name of presenter</a:t>
            </a:r>
          </a:p>
          <a:p>
            <a:pPr lvl="1"/>
            <a:r>
              <a:rPr lang="en-US" dirty="0"/>
              <a:t>Title + company</a:t>
            </a:r>
          </a:p>
        </p:txBody>
      </p:sp>
      <p:sp>
        <p:nvSpPr>
          <p:cNvPr id="24" name="Headshot-1">
            <a:extLst>
              <a:ext uri="{FF2B5EF4-FFF2-40B4-BE49-F238E27FC236}">
                <a16:creationId xmlns:a16="http://schemas.microsoft.com/office/drawing/2014/main" id="{D8E96CB3-5D9D-A341-B02E-FCA335469C5A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04800" y="1219200"/>
            <a:ext cx="1554480" cy="1557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quare headshot</a:t>
            </a:r>
          </a:p>
          <a:p>
            <a:r>
              <a:rPr lang="en-US" dirty="0"/>
              <a:t>1.7”</a:t>
            </a:r>
          </a:p>
        </p:txBody>
      </p:sp>
      <p:sp>
        <p:nvSpPr>
          <p:cNvPr id="9" name="Title-of-Section">
            <a:extLst>
              <a:ext uri="{FF2B5EF4-FFF2-40B4-BE49-F238E27FC236}">
                <a16:creationId xmlns:a16="http://schemas.microsoft.com/office/drawing/2014/main" id="{6662A2C2-7437-8142-B87C-0479C8F35D0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592513" y="1219200"/>
            <a:ext cx="8294687" cy="437673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87000"/>
              </a:lnSpc>
              <a:defRPr sz="6000" b="1">
                <a:solidFill>
                  <a:schemeClr val="bg1"/>
                </a:solidFill>
              </a:defRPr>
            </a:lvl1pPr>
            <a:lvl2pPr>
              <a:lnSpc>
                <a:spcPct val="92000"/>
              </a:lnSpc>
              <a:spcBef>
                <a:spcPts val="0"/>
              </a:spcBef>
              <a:defRPr sz="1700" spc="10" baseline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60271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thirds-one-third-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8334B2-B6CC-4E4B-AA70-37222D9BC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ACA5E4-4D2A-A74C-867C-7FE8FBD228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Subhead">
            <a:extLst>
              <a:ext uri="{FF2B5EF4-FFF2-40B4-BE49-F238E27FC236}">
                <a16:creationId xmlns:a16="http://schemas.microsoft.com/office/drawing/2014/main" id="{48ACD544-818F-FF4C-B914-F51EB64D062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2" y="1280160"/>
            <a:ext cx="11585448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wo-thirds">
            <a:extLst>
              <a:ext uri="{FF2B5EF4-FFF2-40B4-BE49-F238E27FC236}">
                <a16:creationId xmlns:a16="http://schemas.microsoft.com/office/drawing/2014/main" id="{E7DA6189-54EE-8C42-9D91-426B6022325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98450" y="1737360"/>
            <a:ext cx="73152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one-third">
            <a:extLst>
              <a:ext uri="{FF2B5EF4-FFF2-40B4-BE49-F238E27FC236}">
                <a16:creationId xmlns:a16="http://schemas.microsoft.com/office/drawing/2014/main" id="{9440345A-4A21-054A-A0DF-803C4368DBC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024145" y="1737360"/>
            <a:ext cx="38862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notes or source">
            <a:extLst>
              <a:ext uri="{FF2B5EF4-FFF2-40B4-BE49-F238E27FC236}">
                <a16:creationId xmlns:a16="http://schemas.microsoft.com/office/drawing/2014/main" id="{342FD89A-EBB3-F646-9AA2-A2F24E8D7F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4374848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5BCD3-73BA-4B4E-9EF1-EC3DA83876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49F419-CCB6-1B42-9B81-974A6973C6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ootnotes or source">
            <a:extLst>
              <a:ext uri="{FF2B5EF4-FFF2-40B4-BE49-F238E27FC236}">
                <a16:creationId xmlns:a16="http://schemas.microsoft.com/office/drawing/2014/main" id="{60C66321-19D3-D443-AF24-CDD6909001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78025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3E326F-9FAA-754E-A228-EA0A6E74CE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Footnotes or source">
            <a:extLst>
              <a:ext uri="{FF2B5EF4-FFF2-40B4-BE49-F238E27FC236}">
                <a16:creationId xmlns:a16="http://schemas.microsoft.com/office/drawing/2014/main" id="{822FE04D-686B-AA46-A1D1-98A22AB5F25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72" indent="-118872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tx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9399730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blipFill dpi="0" rotWithShape="1">
          <a:blip r:embed="rId3">
            <a:alphaModFix amt="5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621023"/>
            <a:ext cx="11582400" cy="1937787"/>
          </a:xfrm>
        </p:spPr>
        <p:txBody>
          <a:bodyPr/>
          <a:lstStyle>
            <a:lvl1pPr algn="l" defTabSz="609570" rtl="0" eaLnBrk="1" latinLnBrk="0" hangingPunct="1">
              <a:lnSpc>
                <a:spcPts val="6000"/>
              </a:lnSpc>
              <a:spcBef>
                <a:spcPct val="0"/>
              </a:spcBef>
              <a:buNone/>
              <a:defRPr lang="de-DE" sz="5333" b="1" i="0" kern="1200" cap="all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3628329"/>
            <a:ext cx="11582400" cy="727771"/>
          </a:xfrm>
        </p:spPr>
        <p:txBody>
          <a:bodyPr/>
          <a:lstStyle>
            <a:lvl1pPr marL="0" indent="0" algn="l" defTabSz="609570" rtl="0" eaLnBrk="1" latinLnBrk="0" hangingPunct="1">
              <a:spcBef>
                <a:spcPts val="1067"/>
              </a:spcBef>
              <a:spcAft>
                <a:spcPts val="267"/>
              </a:spcAft>
              <a:buFont typeface="Arial"/>
              <a:buNone/>
              <a:defRPr lang="en-US" sz="2400" b="0" kern="1200" cap="none" baseline="0" dirty="0" smtClean="0">
                <a:solidFill>
                  <a:schemeClr val="tx2"/>
                </a:solidFill>
                <a:latin typeface="+mn-lt"/>
                <a:ea typeface="+mn-ea"/>
                <a:cs typeface="Graphik Regular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3" name="Rechteck 12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304800" y="1371599"/>
            <a:ext cx="11582400" cy="49787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59"/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7179732" y="3628329"/>
            <a:ext cx="4707467" cy="366461"/>
          </a:xfrm>
        </p:spPr>
        <p:txBody>
          <a:bodyPr tIns="36000" anchor="ctr" anchorCtr="0"/>
          <a:lstStyle>
            <a:lvl1pPr algn="r">
              <a:defRPr sz="1733" b="1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601216" cy="140208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7" name="Text Placeholder 16"/>
          <p:cNvSpPr>
            <a:spLocks noGrp="1"/>
          </p:cNvSpPr>
          <p:nvPr>
            <p:ph type="body" sz="quarter" idx="18"/>
          </p:nvPr>
        </p:nvSpPr>
        <p:spPr>
          <a:xfrm>
            <a:off x="309034" y="5257801"/>
            <a:ext cx="11578164" cy="1090084"/>
          </a:xfrm>
        </p:spPr>
        <p:txBody>
          <a:bodyPr anchor="b" anchorCtr="0"/>
          <a:lstStyle>
            <a:lvl1pPr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1pPr>
            <a:lvl2pPr marL="121917" indent="-121917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defRPr sz="1200" b="0" cap="none" baseline="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2pPr>
            <a:lvl3pPr>
              <a:defRPr sz="120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3pPr>
            <a:lvl4pPr>
              <a:defRPr sz="120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4pPr>
            <a:lvl5pPr>
              <a:defRPr sz="120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460926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826829"/>
            <a:ext cx="11582400" cy="404057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022EC7D-EA31-4613-AF89-5E3831E6F1D6}" type="slidenum">
              <a:rPr lang="de-DE" smtClean="0">
                <a:solidFill>
                  <a:srgbClr val="000000"/>
                </a:solidFill>
              </a:rPr>
              <a:pPr/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Rechteck 5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304800" y="1371599"/>
            <a:ext cx="11582400" cy="49787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59"/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idx="12"/>
          </p:nvPr>
        </p:nvSpPr>
        <p:spPr>
          <a:xfrm>
            <a:off x="304800" y="1373719"/>
            <a:ext cx="11582400" cy="453109"/>
          </a:xfrm>
        </p:spPr>
        <p:txBody>
          <a:bodyPr anchor="t"/>
          <a:lstStyle>
            <a:lvl1pPr marL="0" marR="0" indent="0" algn="l" defTabSz="609570" rtl="0" eaLnBrk="1" fontAlgn="auto" latinLnBrk="0" hangingPunct="1">
              <a:lnSpc>
                <a:spcPct val="100000"/>
              </a:lnSpc>
              <a:spcBef>
                <a:spcPts val="1067"/>
              </a:spcBef>
              <a:spcAft>
                <a:spcPts val="267"/>
              </a:spcAft>
              <a:buClrTx/>
              <a:buSzTx/>
              <a:buFont typeface="Arial"/>
              <a:buNone/>
              <a:tabLst/>
              <a:defRPr sz="2400" b="0"/>
            </a:lvl1pPr>
            <a:lvl2pPr marL="0" marR="0" indent="0" algn="l" defTabSz="609570" rtl="0" eaLnBrk="1" fontAlgn="auto" latinLnBrk="0" hangingPunct="1">
              <a:lnSpc>
                <a:spcPct val="100000"/>
              </a:lnSpc>
              <a:spcBef>
                <a:spcPts val="1067"/>
              </a:spcBef>
              <a:spcAft>
                <a:spcPts val="267"/>
              </a:spcAft>
              <a:buClr>
                <a:srgbClr val="F26924"/>
              </a:buClr>
              <a:buSzTx/>
              <a:buFontTx/>
              <a:buNone/>
              <a:tabLst/>
              <a:defRPr sz="2667" b="1"/>
            </a:lvl2pPr>
            <a:lvl3pPr marL="0" marR="0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F26924"/>
              </a:buClr>
              <a:buSzTx/>
              <a:buFont typeface="Lucida Grande"/>
              <a:buNone/>
              <a:tabLst/>
              <a:defRPr sz="2400" b="1"/>
            </a:lvl3pPr>
            <a:lvl4pPr marL="224361" marR="0" indent="-224361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F26924"/>
              </a:buClr>
              <a:buSzTx/>
              <a:buFont typeface="LucidaGrande" charset="0"/>
              <a:buChar char="•"/>
              <a:tabLst/>
              <a:defRPr sz="2133" b="1"/>
            </a:lvl4pPr>
            <a:lvl5pPr marL="365742" marR="0" indent="-18287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.HelveticaNeueDeskInterface-Regular" charset="-120"/>
              <a:buChar char="–"/>
              <a:tabLst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marL="0" marR="0" lvl="0" indent="0" algn="l" defTabSz="609570" rtl="0" eaLnBrk="1" fontAlgn="auto" latinLnBrk="0" hangingPunct="1">
              <a:lnSpc>
                <a:spcPct val="100000"/>
              </a:lnSpc>
              <a:spcBef>
                <a:spcPts val="1067"/>
              </a:spcBef>
              <a:spcAft>
                <a:spcPts val="267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2692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ck to edit Master text styles</a:t>
            </a:r>
          </a:p>
          <a:p>
            <a:pPr marL="0" marR="0" lvl="1" indent="0" algn="l" defTabSz="609570" rtl="0" eaLnBrk="1" fontAlgn="auto" latinLnBrk="0" hangingPunct="1">
              <a:lnSpc>
                <a:spcPct val="100000"/>
              </a:lnSpc>
              <a:spcBef>
                <a:spcPts val="1067"/>
              </a:spcBef>
              <a:spcAft>
                <a:spcPts val="267"/>
              </a:spcAft>
              <a:buClr>
                <a:srgbClr val="F26924"/>
              </a:buClr>
              <a:buSzTx/>
              <a:buFontTx/>
              <a:buNone/>
              <a:tabLst/>
              <a:defRPr/>
            </a:pPr>
            <a:r>
              <a:rPr kumimoji="0" lang="en-US" sz="1733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ond level</a:t>
            </a:r>
          </a:p>
          <a:p>
            <a:pPr marL="0" marR="0" lvl="2" indent="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F26924"/>
              </a:buClr>
              <a:buSzTx/>
              <a:buFont typeface="Lucida Grande"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rd level</a:t>
            </a:r>
          </a:p>
          <a:p>
            <a:pPr marL="224361" marR="0" lvl="3" indent="-224361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F26924"/>
              </a:buClr>
              <a:buSzTx/>
              <a:buFont typeface="LucidaGrande" charset="0"/>
              <a:buChar char="•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urth level</a:t>
            </a:r>
          </a:p>
          <a:p>
            <a:pPr marL="365742" marR="0" lvl="4" indent="-182870" algn="l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 typeface=".HelveticaNeueDeskInterface-Regular" charset="-120"/>
              <a:buChar char="–"/>
              <a:tabLst/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fth level</a:t>
            </a:r>
          </a:p>
        </p:txBody>
      </p:sp>
      <p:sp>
        <p:nvSpPr>
          <p:cNvPr id="9" name="Text Placeholder 16"/>
          <p:cNvSpPr>
            <a:spLocks noGrp="1"/>
          </p:cNvSpPr>
          <p:nvPr>
            <p:ph type="body" sz="quarter" idx="18"/>
          </p:nvPr>
        </p:nvSpPr>
        <p:spPr>
          <a:xfrm>
            <a:off x="309034" y="5867401"/>
            <a:ext cx="11578164" cy="480484"/>
          </a:xfrm>
        </p:spPr>
        <p:txBody>
          <a:bodyPr anchor="b" anchorCtr="0"/>
          <a:lstStyle>
            <a:lvl1pPr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1pPr>
            <a:lvl2pPr marL="121917" indent="-121917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defRPr sz="1200" b="0" cap="none" baseline="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2pPr>
            <a:lvl3pPr>
              <a:defRPr sz="120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3pPr>
            <a:lvl4pPr>
              <a:defRPr sz="120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4pPr>
            <a:lvl5pPr>
              <a:defRPr sz="120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645233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_orang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022EC7D-EA31-4613-AF89-5E3831E6F1D6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5" name="Rechteck 8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314025" y="1219201"/>
            <a:ext cx="11582400" cy="184343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59"/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>
            <p:custDataLst>
              <p:tags r:id="rId2"/>
            </p:custDataLst>
          </p:nvPr>
        </p:nvSpPr>
        <p:spPr>
          <a:xfrm>
            <a:off x="292100" y="1358900"/>
            <a:ext cx="11616000" cy="4536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defTabSz="609559"/>
            <a:endParaRPr lang="de-DE" sz="1867" dirty="0">
              <a:solidFill>
                <a:srgbClr val="FFFFFF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14026" y="1219200"/>
            <a:ext cx="11453285" cy="1768459"/>
          </a:xfrm>
        </p:spPr>
        <p:txBody>
          <a:bodyPr anchor="t"/>
          <a:lstStyle>
            <a:lvl1pPr>
              <a:lnSpc>
                <a:spcPts val="6000"/>
              </a:lnSpc>
              <a:defRPr sz="5333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8"/>
          </p:nvPr>
        </p:nvSpPr>
        <p:spPr>
          <a:xfrm>
            <a:off x="309034" y="6034601"/>
            <a:ext cx="11578164" cy="313284"/>
          </a:xfrm>
        </p:spPr>
        <p:txBody>
          <a:bodyPr anchor="b" anchorCtr="0"/>
          <a:lstStyle>
            <a:lvl1pPr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defRPr>
            </a:lvl1pPr>
            <a:lvl2pPr marL="121917" indent="-121917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+mj-lt"/>
              <a:buAutoNum type="arabicPeriod"/>
              <a:defRPr sz="1200" b="0" cap="none" baseline="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defRPr>
            </a:lvl2pPr>
            <a:lvl3pPr>
              <a:defRPr sz="120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3pPr>
            <a:lvl4pPr>
              <a:defRPr sz="120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4pPr>
            <a:lvl5pPr>
              <a:defRPr sz="120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1826236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thirds +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229600" y="1371600"/>
            <a:ext cx="3657600" cy="4495800"/>
          </a:xfrm>
        </p:spPr>
        <p:txBody>
          <a:bodyPr/>
          <a:lstStyle>
            <a:lvl1pPr>
              <a:lnSpc>
                <a:spcPts val="4533"/>
              </a:lnSpc>
              <a:spcBef>
                <a:spcPts val="800"/>
              </a:spcBef>
              <a:spcAft>
                <a:spcPts val="0"/>
              </a:spcAft>
              <a:defRPr sz="4267" b="1" cap="none" baseline="0">
                <a:solidFill>
                  <a:schemeClr val="accent3"/>
                </a:solidFill>
              </a:defRPr>
            </a:lvl1pPr>
            <a:lvl2pPr>
              <a:spcBef>
                <a:spcPts val="267"/>
              </a:spcBef>
              <a:spcAft>
                <a:spcPts val="800"/>
              </a:spcAft>
              <a:defRPr sz="1733"/>
            </a:lvl2pPr>
            <a:lvl3pPr>
              <a:defRPr sz="1867"/>
            </a:lvl3pPr>
            <a:lvl4pPr marL="182870" indent="-182870">
              <a:buFont typeface="Wingdings" charset="2"/>
              <a:buChar char="§"/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022EC7D-EA31-4613-AF89-5E3831E6F1D6}" type="slidenum">
              <a:rPr lang="de-DE" smtClean="0">
                <a:solidFill>
                  <a:srgbClr val="000000"/>
                </a:solidFill>
              </a:rPr>
              <a:pPr/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0" name="Rechteck 9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304800" y="1371599"/>
            <a:ext cx="11582400" cy="49787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59"/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304801" y="1371600"/>
            <a:ext cx="7620004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8"/>
          </p:nvPr>
        </p:nvSpPr>
        <p:spPr>
          <a:xfrm>
            <a:off x="309034" y="5867401"/>
            <a:ext cx="11578164" cy="480484"/>
          </a:xfrm>
        </p:spPr>
        <p:txBody>
          <a:bodyPr anchor="b" anchorCtr="0"/>
          <a:lstStyle>
            <a:lvl1pPr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1pPr>
            <a:lvl2pPr marL="121917" indent="-121917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defRPr sz="1200" b="0" cap="none" baseline="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2pPr>
            <a:lvl3pPr>
              <a:defRPr sz="120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3pPr>
            <a:lvl4pPr>
              <a:defRPr sz="120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4pPr>
            <a:lvl5pPr>
              <a:defRPr sz="120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876593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8">
          <p15:clr>
            <a:srgbClr val="FBAE40"/>
          </p15:clr>
        </p15:guide>
        <p15:guide id="2" pos="375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371600"/>
            <a:ext cx="11582400" cy="4495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022EC7D-EA31-4613-AF89-5E3831E6F1D6}" type="slidenum">
              <a:rPr lang="de-DE" smtClean="0">
                <a:solidFill>
                  <a:srgbClr val="000000"/>
                </a:solidFill>
              </a:rPr>
              <a:pPr/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Rechteck 5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304800" y="1371599"/>
            <a:ext cx="11582400" cy="49787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59"/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8"/>
          </p:nvPr>
        </p:nvSpPr>
        <p:spPr>
          <a:xfrm>
            <a:off x="309034" y="5867401"/>
            <a:ext cx="11578164" cy="480484"/>
          </a:xfrm>
        </p:spPr>
        <p:txBody>
          <a:bodyPr anchor="b" anchorCtr="0"/>
          <a:lstStyle>
            <a:lvl1pPr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1pPr>
            <a:lvl2pPr marL="121917" indent="-121917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defRPr sz="1200" b="0" cap="none" baseline="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2pPr>
            <a:lvl3pPr>
              <a:defRPr sz="120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3pPr>
            <a:lvl4pPr>
              <a:defRPr sz="120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4pPr>
            <a:lvl5pPr>
              <a:defRPr sz="120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701102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292100" y="1358900"/>
            <a:ext cx="11616000" cy="4536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defTabSz="609559"/>
            <a:endParaRPr lang="de-DE" sz="3200" dirty="0">
              <a:solidFill>
                <a:srgbClr val="FFFFFF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022EC7D-EA31-4613-AF89-5E3831E6F1D6}" type="slidenum">
              <a:rPr lang="de-DE" smtClean="0">
                <a:solidFill>
                  <a:srgbClr val="000000"/>
                </a:solidFill>
              </a:rPr>
              <a:pPr/>
              <a:t>‹#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0" name="Rechteck 9" hidden="1"/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304800" y="1371599"/>
            <a:ext cx="11582400" cy="49787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59"/>
            <a:endParaRPr lang="de-DE" sz="2400" dirty="0">
              <a:solidFill>
                <a:srgbClr val="FFFFFF"/>
              </a:solidFill>
            </a:endParaRPr>
          </a:p>
        </p:txBody>
      </p:sp>
      <p:sp>
        <p:nvSpPr>
          <p:cNvPr id="8" name="Text Placeholder 16"/>
          <p:cNvSpPr>
            <a:spLocks noGrp="1"/>
          </p:cNvSpPr>
          <p:nvPr>
            <p:ph type="body" sz="quarter" idx="18"/>
          </p:nvPr>
        </p:nvSpPr>
        <p:spPr>
          <a:xfrm>
            <a:off x="309034" y="5969001"/>
            <a:ext cx="11578164" cy="378884"/>
          </a:xfrm>
        </p:spPr>
        <p:txBody>
          <a:bodyPr anchor="b" anchorCtr="0"/>
          <a:lstStyle>
            <a:lvl1pPr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1pPr>
            <a:lvl2pPr marL="121917" indent="-121917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defRPr sz="1200" b="0" cap="none" baseline="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2pPr>
            <a:lvl3pPr>
              <a:defRPr sz="120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3pPr>
            <a:lvl4pPr>
              <a:defRPr sz="120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4pPr>
            <a:lvl5pPr>
              <a:defRPr sz="120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78607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621025"/>
            <a:ext cx="11582400" cy="1937787"/>
          </a:xfrm>
        </p:spPr>
        <p:txBody>
          <a:bodyPr/>
          <a:lstStyle>
            <a:lvl1pPr algn="l" defTabSz="609539" rtl="0" eaLnBrk="1" latinLnBrk="0" hangingPunct="1">
              <a:lnSpc>
                <a:spcPts val="6000"/>
              </a:lnSpc>
              <a:spcBef>
                <a:spcPct val="0"/>
              </a:spcBef>
              <a:buNone/>
              <a:defRPr lang="de-DE" sz="5333" b="1" i="0" kern="1200" cap="all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3628330"/>
            <a:ext cx="11582400" cy="1206431"/>
          </a:xfrm>
        </p:spPr>
        <p:txBody>
          <a:bodyPr/>
          <a:lstStyle>
            <a:lvl1pPr marL="0" indent="0" algn="l" defTabSz="609539" rtl="0" eaLnBrk="1" latinLnBrk="0" hangingPunct="1">
              <a:spcBef>
                <a:spcPts val="1067"/>
              </a:spcBef>
              <a:spcAft>
                <a:spcPts val="267"/>
              </a:spcAft>
              <a:buFont typeface="Arial"/>
              <a:buNone/>
              <a:defRPr lang="en-US" sz="2400" b="0" kern="1200" cap="none" baseline="0" dirty="0" smtClean="0">
                <a:solidFill>
                  <a:schemeClr val="tx2"/>
                </a:solidFill>
                <a:latin typeface="+mn-lt"/>
                <a:ea typeface="+mn-ea"/>
                <a:cs typeface="Graphik Regular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3" name="Rechteck 12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304800" y="1371599"/>
            <a:ext cx="11582400" cy="49787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2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7179733" y="3628329"/>
            <a:ext cx="4707467" cy="366461"/>
          </a:xfrm>
        </p:spPr>
        <p:txBody>
          <a:bodyPr tIns="36000" anchor="ctr" anchorCtr="0"/>
          <a:lstStyle>
            <a:lvl1pPr algn="r">
              <a:defRPr sz="1733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" y="504"/>
            <a:ext cx="1600640" cy="140106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Slide Number Placeholder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42725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speakers-section-divider_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-mask">
            <a:extLst>
              <a:ext uri="{FF2B5EF4-FFF2-40B4-BE49-F238E27FC236}">
                <a16:creationId xmlns:a16="http://schemas.microsoft.com/office/drawing/2014/main" id="{896380FA-C751-394F-AF43-890CE877D65E}"/>
              </a:ext>
            </a:extLst>
          </p:cNvPr>
          <p:cNvSpPr/>
          <p:nvPr userDrawn="1"/>
        </p:nvSpPr>
        <p:spPr>
          <a:xfrm>
            <a:off x="3172178" y="1"/>
            <a:ext cx="901982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FFF82D-370F-D746-A4FA-23A8D59237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itle-of-Section">
            <a:extLst>
              <a:ext uri="{FF2B5EF4-FFF2-40B4-BE49-F238E27FC236}">
                <a16:creationId xmlns:a16="http://schemas.microsoft.com/office/drawing/2014/main" id="{9B674D65-8A26-F44A-815E-03ADADA6390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592513" y="1219200"/>
            <a:ext cx="8294687" cy="437673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87000"/>
              </a:lnSpc>
              <a:defRPr sz="6000" b="1">
                <a:solidFill>
                  <a:schemeClr val="bg1"/>
                </a:solidFill>
              </a:defRPr>
            </a:lvl1pPr>
            <a:lvl2pPr>
              <a:lnSpc>
                <a:spcPct val="92000"/>
              </a:lnSpc>
              <a:spcBef>
                <a:spcPts val="0"/>
              </a:spcBef>
              <a:defRPr sz="1700" spc="10" baseline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resenter-2">
            <a:extLst>
              <a:ext uri="{FF2B5EF4-FFF2-40B4-BE49-F238E27FC236}">
                <a16:creationId xmlns:a16="http://schemas.microsoft.com/office/drawing/2014/main" id="{D557086D-F365-BE41-A271-878B1FC73234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307975" y="5339037"/>
            <a:ext cx="2715768" cy="54200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sz="1800" b="1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600"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Name of presenter</a:t>
            </a:r>
          </a:p>
          <a:p>
            <a:pPr lvl="1"/>
            <a:r>
              <a:rPr lang="en-US" dirty="0"/>
              <a:t>Title + company</a:t>
            </a:r>
          </a:p>
        </p:txBody>
      </p:sp>
      <p:sp>
        <p:nvSpPr>
          <p:cNvPr id="14" name="Headshot-2">
            <a:extLst>
              <a:ext uri="{FF2B5EF4-FFF2-40B4-BE49-F238E27FC236}">
                <a16:creationId xmlns:a16="http://schemas.microsoft.com/office/drawing/2014/main" id="{5C4B9A36-F1CF-E845-9597-515FEE6A352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04800" y="3627119"/>
            <a:ext cx="1554480" cy="1557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quare headshot</a:t>
            </a:r>
          </a:p>
          <a:p>
            <a:r>
              <a:rPr lang="en-US" dirty="0"/>
              <a:t>1.7”</a:t>
            </a:r>
          </a:p>
        </p:txBody>
      </p:sp>
      <p:sp>
        <p:nvSpPr>
          <p:cNvPr id="15" name="Presenter-1">
            <a:extLst>
              <a:ext uri="{FF2B5EF4-FFF2-40B4-BE49-F238E27FC236}">
                <a16:creationId xmlns:a16="http://schemas.microsoft.com/office/drawing/2014/main" id="{AE710FFA-A942-EB44-A666-0B0BFC3C33F3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307975" y="2536568"/>
            <a:ext cx="2715768" cy="54200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sz="1800" b="1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600"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Name of presenter</a:t>
            </a:r>
          </a:p>
          <a:p>
            <a:pPr lvl="1"/>
            <a:r>
              <a:rPr lang="en-US" dirty="0"/>
              <a:t>Title + company</a:t>
            </a:r>
          </a:p>
        </p:txBody>
      </p:sp>
      <p:sp>
        <p:nvSpPr>
          <p:cNvPr id="16" name="Headshot-1">
            <a:extLst>
              <a:ext uri="{FF2B5EF4-FFF2-40B4-BE49-F238E27FC236}">
                <a16:creationId xmlns:a16="http://schemas.microsoft.com/office/drawing/2014/main" id="{50AA4AE5-70B2-6440-8F11-DAB85C88759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04800" y="837120"/>
            <a:ext cx="1554480" cy="1557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quare headshot</a:t>
            </a:r>
          </a:p>
          <a:p>
            <a:r>
              <a:rPr lang="en-US" dirty="0"/>
              <a:t>1.7”</a:t>
            </a:r>
          </a:p>
        </p:txBody>
      </p:sp>
    </p:spTree>
    <p:extLst>
      <p:ext uri="{BB962C8B-B14F-4D97-AF65-F5344CB8AC3E}">
        <p14:creationId xmlns:p14="http://schemas.microsoft.com/office/powerpoint/2010/main" val="351783577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Rechteck 5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304800" y="1371599"/>
            <a:ext cx="11582400" cy="49787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2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304800" y="1397000"/>
            <a:ext cx="11582400" cy="44471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04800" y="5899152"/>
            <a:ext cx="11582400" cy="448733"/>
          </a:xfr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 marL="158488" indent="-158488"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/>
              <a:defRPr sz="1200" b="0" cap="none" baseline="0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419036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os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4800" y="1371603"/>
            <a:ext cx="11582400" cy="4976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1200" smtClean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lvl="0"/>
            <a:r>
              <a:rPr lang="en-US" sz="1200" dirty="0">
                <a:latin typeface="Arial Narrow" panose="020B0606020202030204" pitchFamily="34" charset="0"/>
              </a:rPr>
              <a:t>Disclosure styl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Rechteck 5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304800" y="1371599"/>
            <a:ext cx="11582400" cy="49787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2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42050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6" name="Rechteck 5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304800" y="1371599"/>
            <a:ext cx="11582400" cy="49787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2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04800" y="1396999"/>
            <a:ext cx="11582400" cy="51206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" y="1914144"/>
            <a:ext cx="11582400" cy="39116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04800" y="5899152"/>
            <a:ext cx="11582400" cy="448733"/>
          </a:xfr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 marL="158488" indent="-158488"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/>
              <a:defRPr sz="1200" b="0" cap="none" baseline="0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497203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933" b="1" i="0" cap="all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Rechteck 9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304800" y="1371599"/>
            <a:ext cx="11582400" cy="49787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2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304800" y="1397000"/>
            <a:ext cx="5486400" cy="428836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388102" y="1397002"/>
            <a:ext cx="5499100" cy="43412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04800" y="5899152"/>
            <a:ext cx="11582400" cy="448733"/>
          </a:xfr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 marL="158488" indent="-158488"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/>
              <a:defRPr sz="1200" b="0" cap="none" baseline="0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30367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36">
          <p15:clr>
            <a:srgbClr val="FBAE40"/>
          </p15:clr>
        </p15:guide>
        <p15:guide id="2" pos="3018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304800" y="1397000"/>
            <a:ext cx="5486400" cy="4511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6383868" y="1397000"/>
            <a:ext cx="5503333" cy="4511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304800" y="1914144"/>
            <a:ext cx="5486400" cy="40153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6383868" y="1914146"/>
            <a:ext cx="5503333" cy="40936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5"/>
          </p:nvPr>
        </p:nvSpPr>
        <p:spPr>
          <a:xfrm>
            <a:off x="304800" y="5899152"/>
            <a:ext cx="11582400" cy="448733"/>
          </a:xfr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 marL="158488" indent="-158488"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/>
              <a:defRPr sz="1200" b="0" cap="none" baseline="0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23849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36">
          <p15:clr>
            <a:srgbClr val="FBAE40"/>
          </p15:clr>
        </p15:guide>
        <p15:guide id="2" pos="3016">
          <p15:clr>
            <a:srgbClr val="FBAE40"/>
          </p15:clr>
        </p15:guide>
        <p15:guide id="3" orient="horz" pos="80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1" name="Rechteck 10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304800" y="1371599"/>
            <a:ext cx="11582400" cy="49787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2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304800" y="1397000"/>
            <a:ext cx="3657600" cy="42777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20"/>
          </p:nvPr>
        </p:nvSpPr>
        <p:spPr>
          <a:xfrm>
            <a:off x="4271435" y="1397000"/>
            <a:ext cx="3649133" cy="42793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8229600" y="1397001"/>
            <a:ext cx="3657600" cy="427939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04800" y="5899152"/>
            <a:ext cx="11582400" cy="448733"/>
          </a:xfr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 marL="158488" indent="-158488"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/>
              <a:defRPr sz="1200" b="0" cap="none" baseline="0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85785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72">
          <p15:clr>
            <a:srgbClr val="FBAE40"/>
          </p15:clr>
        </p15:guide>
        <p15:guide id="2" pos="2018">
          <p15:clr>
            <a:srgbClr val="FBAE40"/>
          </p15:clr>
        </p15:guide>
        <p15:guide id="3" pos="3888">
          <p15:clr>
            <a:srgbClr val="FBAE40"/>
          </p15:clr>
        </p15:guide>
        <p15:guide id="4" pos="3742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Content Placeholder 4"/>
          <p:cNvSpPr>
            <a:spLocks noGrp="1"/>
          </p:cNvSpPr>
          <p:nvPr>
            <p:ph sz="quarter" idx="19"/>
          </p:nvPr>
        </p:nvSpPr>
        <p:spPr>
          <a:xfrm>
            <a:off x="304800" y="1914145"/>
            <a:ext cx="3657600" cy="382905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12"/>
          <p:cNvSpPr>
            <a:spLocks noGrp="1"/>
          </p:cNvSpPr>
          <p:nvPr>
            <p:ph sz="quarter" idx="20"/>
          </p:nvPr>
        </p:nvSpPr>
        <p:spPr>
          <a:xfrm>
            <a:off x="4271435" y="1914146"/>
            <a:ext cx="3649133" cy="383048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14"/>
          <p:cNvSpPr>
            <a:spLocks noGrp="1"/>
          </p:cNvSpPr>
          <p:nvPr>
            <p:ph sz="quarter" idx="21"/>
          </p:nvPr>
        </p:nvSpPr>
        <p:spPr>
          <a:xfrm>
            <a:off x="8229600" y="1914146"/>
            <a:ext cx="3657600" cy="383048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2"/>
          </p:nvPr>
        </p:nvSpPr>
        <p:spPr>
          <a:xfrm>
            <a:off x="304800" y="1396999"/>
            <a:ext cx="11582400" cy="51206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04800" y="5899152"/>
            <a:ext cx="11582400" cy="448733"/>
          </a:xfr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 marL="158488" indent="-158488"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/>
              <a:defRPr sz="1200" b="0" cap="none" baseline="0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96834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Rechteck 10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304800" y="1371599"/>
            <a:ext cx="11582400" cy="49787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2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304800" y="2028260"/>
            <a:ext cx="3657600" cy="36465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20"/>
          </p:nvPr>
        </p:nvSpPr>
        <p:spPr>
          <a:xfrm>
            <a:off x="4271435" y="2028496"/>
            <a:ext cx="3649133" cy="36478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8229600" y="2028497"/>
            <a:ext cx="3657600" cy="364789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22"/>
          </p:nvPr>
        </p:nvSpPr>
        <p:spPr>
          <a:xfrm>
            <a:off x="304800" y="1396761"/>
            <a:ext cx="3657600" cy="54864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2"/>
          <p:cNvSpPr>
            <a:spLocks noGrp="1"/>
          </p:cNvSpPr>
          <p:nvPr>
            <p:ph sz="quarter" idx="23"/>
          </p:nvPr>
        </p:nvSpPr>
        <p:spPr>
          <a:xfrm>
            <a:off x="4271435" y="1396999"/>
            <a:ext cx="3649133" cy="54864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Content Placeholder 14"/>
          <p:cNvSpPr>
            <a:spLocks noGrp="1"/>
          </p:cNvSpPr>
          <p:nvPr>
            <p:ph sz="quarter" idx="24"/>
          </p:nvPr>
        </p:nvSpPr>
        <p:spPr>
          <a:xfrm>
            <a:off x="8229600" y="1397000"/>
            <a:ext cx="3657600" cy="54864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5"/>
          </p:nvPr>
        </p:nvSpPr>
        <p:spPr>
          <a:xfrm>
            <a:off x="304800" y="5899152"/>
            <a:ext cx="11582400" cy="448733"/>
          </a:xfr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 marL="158488" indent="-158488"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/>
              <a:defRPr sz="1200" b="0" cap="none" baseline="0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95628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72">
          <p15:clr>
            <a:srgbClr val="FBAE40"/>
          </p15:clr>
        </p15:guide>
        <p15:guide id="2" pos="2018">
          <p15:clr>
            <a:srgbClr val="FBAE40"/>
          </p15:clr>
        </p15:guide>
        <p15:guide id="3" pos="3888">
          <p15:clr>
            <a:srgbClr val="FBAE40"/>
          </p15:clr>
        </p15:guide>
        <p15:guide id="4" pos="3742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04800" y="1397000"/>
            <a:ext cx="5486400" cy="50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400801" y="1397000"/>
            <a:ext cx="5486400" cy="50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04800" y="1803400"/>
            <a:ext cx="5486400" cy="176784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6400800" y="1803400"/>
            <a:ext cx="5486400" cy="176784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304800" y="3687247"/>
            <a:ext cx="5486400" cy="50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6"/>
          </p:nvPr>
        </p:nvSpPr>
        <p:spPr>
          <a:xfrm>
            <a:off x="304800" y="4099559"/>
            <a:ext cx="5486400" cy="176784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6400800" y="3686809"/>
            <a:ext cx="5486400" cy="50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6400800" y="4099560"/>
            <a:ext cx="5486400" cy="176784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04800" y="5899152"/>
            <a:ext cx="11582400" cy="448733"/>
          </a:xfr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 marL="158488" indent="-158488"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/>
              <a:defRPr sz="1200" b="0" cap="none" baseline="0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3554329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hirds +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229600" y="1371600"/>
            <a:ext cx="3657600" cy="4279392"/>
          </a:xfrm>
        </p:spPr>
        <p:txBody>
          <a:bodyPr/>
          <a:lstStyle>
            <a:lvl1pPr>
              <a:lnSpc>
                <a:spcPts val="4533"/>
              </a:lnSpc>
              <a:spcBef>
                <a:spcPts val="800"/>
              </a:spcBef>
              <a:spcAft>
                <a:spcPts val="0"/>
              </a:spcAft>
              <a:defRPr sz="4267" b="1" cap="none" baseline="0">
                <a:solidFill>
                  <a:schemeClr val="accent3"/>
                </a:solidFill>
              </a:defRPr>
            </a:lvl1pPr>
            <a:lvl2pPr>
              <a:spcBef>
                <a:spcPts val="267"/>
              </a:spcBef>
              <a:spcAft>
                <a:spcPts val="800"/>
              </a:spcAft>
              <a:defRPr sz="1733"/>
            </a:lvl2pPr>
            <a:lvl3pPr>
              <a:defRPr sz="1867"/>
            </a:lvl3pPr>
            <a:lvl4pPr marL="182862" indent="-182862">
              <a:buFont typeface="Arial" panose="020B0604020202020204" pitchFamily="34" charset="0"/>
              <a:buChar char="•"/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0" name="Rechteck 9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304800" y="1371599"/>
            <a:ext cx="11582400" cy="49787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2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9"/>
          </p:nvPr>
        </p:nvSpPr>
        <p:spPr>
          <a:xfrm>
            <a:off x="304802" y="1397000"/>
            <a:ext cx="7632700" cy="432011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04800" y="5899152"/>
            <a:ext cx="11582400" cy="448733"/>
          </a:xfr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 marL="158488" indent="-158488"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/>
              <a:defRPr sz="1200" b="0" cap="none" baseline="0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8520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8">
          <p15:clr>
            <a:srgbClr val="FBAE40"/>
          </p15:clr>
        </p15:guide>
        <p15:guide id="2" pos="375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speakers-section-divider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-mask">
            <a:extLst>
              <a:ext uri="{FF2B5EF4-FFF2-40B4-BE49-F238E27FC236}">
                <a16:creationId xmlns:a16="http://schemas.microsoft.com/office/drawing/2014/main" id="{896380FA-C751-394F-AF43-890CE877D65E}"/>
              </a:ext>
            </a:extLst>
          </p:cNvPr>
          <p:cNvSpPr/>
          <p:nvPr userDrawn="1"/>
        </p:nvSpPr>
        <p:spPr>
          <a:xfrm>
            <a:off x="3172178" y="1"/>
            <a:ext cx="901982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FFF82D-370F-D746-A4FA-23A8D59237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itle-of-Section">
            <a:extLst>
              <a:ext uri="{FF2B5EF4-FFF2-40B4-BE49-F238E27FC236}">
                <a16:creationId xmlns:a16="http://schemas.microsoft.com/office/drawing/2014/main" id="{9B674D65-8A26-F44A-815E-03ADADA6390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592513" y="1219200"/>
            <a:ext cx="8294687" cy="437673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87000"/>
              </a:lnSpc>
              <a:defRPr sz="6000" b="1">
                <a:solidFill>
                  <a:schemeClr val="bg1"/>
                </a:solidFill>
              </a:defRPr>
            </a:lvl1pPr>
            <a:lvl2pPr>
              <a:lnSpc>
                <a:spcPct val="92000"/>
              </a:lnSpc>
              <a:spcBef>
                <a:spcPts val="0"/>
              </a:spcBef>
              <a:defRPr sz="1700" spc="10" baseline="0">
                <a:solidFill>
                  <a:schemeClr val="accent5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resenter-2">
            <a:extLst>
              <a:ext uri="{FF2B5EF4-FFF2-40B4-BE49-F238E27FC236}">
                <a16:creationId xmlns:a16="http://schemas.microsoft.com/office/drawing/2014/main" id="{D557086D-F365-BE41-A271-878B1FC73234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307975" y="5339037"/>
            <a:ext cx="2715768" cy="54200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sz="1800" b="1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600" b="0" cap="none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Name of presenter</a:t>
            </a:r>
          </a:p>
          <a:p>
            <a:pPr lvl="1"/>
            <a:r>
              <a:rPr lang="en-US" dirty="0"/>
              <a:t>Title + company</a:t>
            </a:r>
          </a:p>
        </p:txBody>
      </p:sp>
      <p:sp>
        <p:nvSpPr>
          <p:cNvPr id="14" name="Headshot-2">
            <a:extLst>
              <a:ext uri="{FF2B5EF4-FFF2-40B4-BE49-F238E27FC236}">
                <a16:creationId xmlns:a16="http://schemas.microsoft.com/office/drawing/2014/main" id="{5C4B9A36-F1CF-E845-9597-515FEE6A352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04800" y="3627119"/>
            <a:ext cx="1554480" cy="1557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Square headshot</a:t>
            </a:r>
          </a:p>
          <a:p>
            <a:r>
              <a:rPr lang="en-US" dirty="0"/>
              <a:t>1.7”</a:t>
            </a:r>
          </a:p>
        </p:txBody>
      </p:sp>
      <p:sp>
        <p:nvSpPr>
          <p:cNvPr id="15" name="Presenter-1">
            <a:extLst>
              <a:ext uri="{FF2B5EF4-FFF2-40B4-BE49-F238E27FC236}">
                <a16:creationId xmlns:a16="http://schemas.microsoft.com/office/drawing/2014/main" id="{AE710FFA-A942-EB44-A666-0B0BFC3C33F3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307975" y="2536568"/>
            <a:ext cx="2715768" cy="54200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defRPr sz="1800" b="1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600" b="0" cap="none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Name of presenter</a:t>
            </a:r>
          </a:p>
          <a:p>
            <a:pPr lvl="1"/>
            <a:r>
              <a:rPr lang="en-US" dirty="0"/>
              <a:t>Title + company</a:t>
            </a:r>
          </a:p>
        </p:txBody>
      </p:sp>
      <p:sp>
        <p:nvSpPr>
          <p:cNvPr id="16" name="Headshot-1">
            <a:extLst>
              <a:ext uri="{FF2B5EF4-FFF2-40B4-BE49-F238E27FC236}">
                <a16:creationId xmlns:a16="http://schemas.microsoft.com/office/drawing/2014/main" id="{50AA4AE5-70B2-6440-8F11-DAB85C88759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04800" y="837120"/>
            <a:ext cx="1554480" cy="15573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quare headshot</a:t>
            </a:r>
          </a:p>
          <a:p>
            <a:r>
              <a:rPr lang="en-US" dirty="0"/>
              <a:t>1.7”</a:t>
            </a:r>
          </a:p>
        </p:txBody>
      </p:sp>
    </p:spTree>
    <p:extLst>
      <p:ext uri="{BB962C8B-B14F-4D97-AF65-F5344CB8AC3E}">
        <p14:creationId xmlns:p14="http://schemas.microsoft.com/office/powerpoint/2010/main" val="397316734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hirds + sidebar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229600" y="1914144"/>
            <a:ext cx="3657600" cy="3886053"/>
          </a:xfrm>
        </p:spPr>
        <p:txBody>
          <a:bodyPr/>
          <a:lstStyle>
            <a:lvl1pPr>
              <a:lnSpc>
                <a:spcPts val="4533"/>
              </a:lnSpc>
              <a:spcBef>
                <a:spcPts val="800"/>
              </a:spcBef>
              <a:spcAft>
                <a:spcPts val="0"/>
              </a:spcAft>
              <a:defRPr sz="4267" b="1" cap="none" baseline="0">
                <a:solidFill>
                  <a:schemeClr val="accent3"/>
                </a:solidFill>
              </a:defRPr>
            </a:lvl1pPr>
            <a:lvl2pPr>
              <a:spcBef>
                <a:spcPts val="267"/>
              </a:spcBef>
              <a:spcAft>
                <a:spcPts val="800"/>
              </a:spcAft>
              <a:defRPr sz="1733"/>
            </a:lvl2pPr>
            <a:lvl3pPr>
              <a:defRPr sz="1867"/>
            </a:lvl3pPr>
            <a:lvl4pPr marL="182862" indent="-182862">
              <a:buFont typeface="Arial" panose="020B0604020202020204" pitchFamily="34" charset="0"/>
              <a:buChar char="•"/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0" name="Rechteck 9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304800" y="1371599"/>
            <a:ext cx="11582400" cy="49787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2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304800" y="1397000"/>
            <a:ext cx="11582400" cy="50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20"/>
          </p:nvPr>
        </p:nvSpPr>
        <p:spPr>
          <a:xfrm>
            <a:off x="304802" y="1914146"/>
            <a:ext cx="7632700" cy="38396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04800" y="5899152"/>
            <a:ext cx="11582400" cy="448733"/>
          </a:xfr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 marL="158488" indent="-158488"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/>
              <a:defRPr sz="1200" b="0" cap="none" baseline="0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64361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8">
          <p15:clr>
            <a:srgbClr val="FBAE40"/>
          </p15:clr>
        </p15:guide>
        <p15:guide id="2" pos="3750">
          <p15:clr>
            <a:srgbClr val="FBAE40"/>
          </p15:clr>
        </p15:guide>
        <p15:guide id="3" orient="horz" pos="90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292100" y="1358900"/>
            <a:ext cx="11616000" cy="4536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l"/>
            <a:endParaRPr lang="de-DE" sz="32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 cap="all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hteck 9" hidden="1"/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304800" y="1371599"/>
            <a:ext cx="11582400" cy="49787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2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04800" y="5899152"/>
            <a:ext cx="11582400" cy="448733"/>
          </a:xfr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 marL="158488" indent="-158488"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/>
              <a:defRPr sz="1200" b="0" cap="none" baseline="0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54802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hidden="1"/>
          <p:cNvSpPr/>
          <p:nvPr userDrawn="1">
            <p:custDataLst>
              <p:tags r:id="rId1"/>
            </p:custDataLst>
          </p:nvPr>
        </p:nvSpPr>
        <p:spPr>
          <a:xfrm>
            <a:off x="292100" y="1358900"/>
            <a:ext cx="11616000" cy="45360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l"/>
            <a:endParaRPr lang="de-DE" sz="3200" dirty="0"/>
          </a:p>
        </p:txBody>
      </p:sp>
      <p:sp>
        <p:nvSpPr>
          <p:cNvPr id="10" name="Rechteck 9" hidden="1"/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304800" y="1371599"/>
            <a:ext cx="11582400" cy="49787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2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04800" y="5899152"/>
            <a:ext cx="11582400" cy="448733"/>
          </a:xfrm>
        </p:spPr>
        <p:txBody>
          <a:bodyPr anchor="b" anchorCtr="0"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 marL="158488" indent="-158488">
              <a:spcBef>
                <a:spcPts val="0"/>
              </a:spcBef>
              <a:spcAft>
                <a:spcPts val="0"/>
              </a:spcAft>
              <a:buClrTx/>
              <a:buFont typeface="+mj-lt"/>
              <a:buAutoNum type="arabicPeriod"/>
              <a:defRPr sz="1200" b="0" cap="none" baseline="0">
                <a:solidFill>
                  <a:schemeClr val="bg1"/>
                </a:solidFill>
                <a:latin typeface="Arial Narrow" panose="020B0606020202030204" pitchFamily="34" charset="0"/>
              </a:defRPr>
            </a:lvl2pPr>
            <a:lvl3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18628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orang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Rechteck 8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314025" y="1219203"/>
            <a:ext cx="11582400" cy="184343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2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14028" y="1219200"/>
            <a:ext cx="11453285" cy="1768459"/>
          </a:xfrm>
        </p:spPr>
        <p:txBody>
          <a:bodyPr anchor="t"/>
          <a:lstStyle>
            <a:lvl1pPr>
              <a:lnSpc>
                <a:spcPts val="6000"/>
              </a:lnSpc>
              <a:defRPr sz="5333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672822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_Agenda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33"/>
          <p:cNvSpPr>
            <a:spLocks noGrp="1"/>
          </p:cNvSpPr>
          <p:nvPr userDrawn="1">
            <p:ph type="body" sz="quarter" idx="10"/>
          </p:nvPr>
        </p:nvSpPr>
        <p:spPr>
          <a:xfrm>
            <a:off x="314025" y="4523234"/>
            <a:ext cx="2743200" cy="1340697"/>
          </a:xfrm>
        </p:spPr>
        <p:txBody>
          <a:bodyPr/>
          <a:lstStyle>
            <a:lvl1pPr>
              <a:spcBef>
                <a:spcPts val="267"/>
              </a:spcBef>
              <a:spcAft>
                <a:spcPts val="133"/>
              </a:spcAft>
              <a:defRPr sz="1867">
                <a:solidFill>
                  <a:schemeClr val="tx1"/>
                </a:solidFill>
              </a:defRPr>
            </a:lvl1pPr>
            <a:lvl2pPr>
              <a:spcBef>
                <a:spcPts val="533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5" name="Text Placeholder 33"/>
          <p:cNvSpPr>
            <a:spLocks noGrp="1"/>
          </p:cNvSpPr>
          <p:nvPr userDrawn="1">
            <p:ph type="body" sz="quarter" idx="11"/>
          </p:nvPr>
        </p:nvSpPr>
        <p:spPr>
          <a:xfrm>
            <a:off x="6228523" y="4528998"/>
            <a:ext cx="2743200" cy="1340697"/>
          </a:xfrm>
        </p:spPr>
        <p:txBody>
          <a:bodyPr/>
          <a:lstStyle>
            <a:lvl1pPr>
              <a:spcBef>
                <a:spcPts val="267"/>
              </a:spcBef>
              <a:spcAft>
                <a:spcPts val="133"/>
              </a:spcAft>
              <a:defRPr sz="1867">
                <a:solidFill>
                  <a:schemeClr val="tx1"/>
                </a:solidFill>
              </a:defRPr>
            </a:lvl1pPr>
            <a:lvl2pPr>
              <a:spcBef>
                <a:spcPts val="533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ext Placeholder 3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6225449" y="3451274"/>
            <a:ext cx="2743200" cy="958911"/>
          </a:xfrm>
        </p:spPr>
        <p:txBody>
          <a:bodyPr anchor="b" anchorCtr="0">
            <a:noAutofit/>
          </a:bodyPr>
          <a:lstStyle>
            <a:lvl1pPr>
              <a:lnSpc>
                <a:spcPts val="2400"/>
              </a:lnSpc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36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96875" y="3451274"/>
            <a:ext cx="2743200" cy="958911"/>
          </a:xfrm>
        </p:spPr>
        <p:txBody>
          <a:bodyPr anchor="b" anchorCtr="0">
            <a:noAutofit/>
          </a:bodyPr>
          <a:lstStyle>
            <a:lvl1pPr>
              <a:lnSpc>
                <a:spcPts val="2400"/>
              </a:lnSpc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Text Placeholder 33"/>
          <p:cNvSpPr>
            <a:spLocks noGrp="1"/>
          </p:cNvSpPr>
          <p:nvPr userDrawn="1">
            <p:ph type="body" sz="quarter" idx="14"/>
          </p:nvPr>
        </p:nvSpPr>
        <p:spPr>
          <a:xfrm>
            <a:off x="3303024" y="4528998"/>
            <a:ext cx="2743200" cy="1340697"/>
          </a:xfrm>
        </p:spPr>
        <p:txBody>
          <a:bodyPr/>
          <a:lstStyle>
            <a:lvl1pPr>
              <a:spcBef>
                <a:spcPts val="267"/>
              </a:spcBef>
              <a:spcAft>
                <a:spcPts val="133"/>
              </a:spcAft>
              <a:defRPr sz="1867">
                <a:solidFill>
                  <a:schemeClr val="tx1"/>
                </a:solidFill>
              </a:defRPr>
            </a:lvl1pPr>
            <a:lvl2pPr>
              <a:spcBef>
                <a:spcPts val="533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3"/>
          <p:cNvSpPr>
            <a:spLocks noGrp="1"/>
          </p:cNvSpPr>
          <p:nvPr userDrawn="1">
            <p:ph type="body" sz="quarter" idx="15"/>
          </p:nvPr>
        </p:nvSpPr>
        <p:spPr>
          <a:xfrm>
            <a:off x="9141323" y="4528998"/>
            <a:ext cx="2743200" cy="1340697"/>
          </a:xfrm>
        </p:spPr>
        <p:txBody>
          <a:bodyPr/>
          <a:lstStyle>
            <a:lvl1pPr>
              <a:spcBef>
                <a:spcPts val="267"/>
              </a:spcBef>
              <a:spcAft>
                <a:spcPts val="133"/>
              </a:spcAft>
              <a:defRPr sz="1867">
                <a:solidFill>
                  <a:schemeClr val="tx1"/>
                </a:solidFill>
              </a:defRPr>
            </a:lvl1pPr>
            <a:lvl2pPr>
              <a:spcBef>
                <a:spcPts val="533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36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9141323" y="3451274"/>
            <a:ext cx="2743200" cy="958911"/>
          </a:xfrm>
        </p:spPr>
        <p:txBody>
          <a:bodyPr anchor="b" anchorCtr="0">
            <a:noAutofit/>
          </a:bodyPr>
          <a:lstStyle>
            <a:lvl1pPr>
              <a:lnSpc>
                <a:spcPts val="2400"/>
              </a:lnSpc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36"/>
          <p:cNvSpPr>
            <a:spLocks noGrp="1"/>
          </p:cNvSpPr>
          <p:nvPr>
            <p:ph type="body" sz="quarter" idx="18" hasCustomPrompt="1"/>
          </p:nvPr>
        </p:nvSpPr>
        <p:spPr>
          <a:xfrm>
            <a:off x="327615" y="3451274"/>
            <a:ext cx="2743200" cy="958911"/>
          </a:xfrm>
        </p:spPr>
        <p:txBody>
          <a:bodyPr anchor="b" anchorCtr="0">
            <a:noAutofit/>
          </a:bodyPr>
          <a:lstStyle>
            <a:lvl1pPr>
              <a:lnSpc>
                <a:spcPts val="2400"/>
              </a:lnSpc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14027" y="1219200"/>
            <a:ext cx="11570496" cy="1768459"/>
          </a:xfrm>
        </p:spPr>
        <p:txBody>
          <a:bodyPr anchor="t" anchorCtr="0"/>
          <a:lstStyle>
            <a:lvl1pPr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sz="5333" b="1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Rechteck 16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327615" y="1219203"/>
            <a:ext cx="11582400" cy="51311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2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D113E8C-7EEF-FF4D-8B23-B29C32604C68}"/>
              </a:ext>
            </a:extLst>
          </p:cNvPr>
          <p:cNvSpPr/>
          <p:nvPr userDrawn="1"/>
        </p:nvSpPr>
        <p:spPr>
          <a:xfrm>
            <a:off x="1" y="-3845170"/>
            <a:ext cx="10879016" cy="31261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Use these numbers for the agenda. Copy + Paste onto your slide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Arial bold, 96pt, white, 66% transparency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1F5A825-7DFB-574B-ABCF-DB9181D9C355}"/>
              </a:ext>
            </a:extLst>
          </p:cNvPr>
          <p:cNvSpPr/>
          <p:nvPr userDrawn="1"/>
        </p:nvSpPr>
        <p:spPr>
          <a:xfrm>
            <a:off x="2" y="7343169"/>
            <a:ext cx="4220308" cy="6858000"/>
          </a:xfrm>
          <a:prstGeom prst="rect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841BDCE-C7D7-BD47-9729-7BDC98256D09}"/>
              </a:ext>
            </a:extLst>
          </p:cNvPr>
          <p:cNvSpPr/>
          <p:nvPr userDrawn="1"/>
        </p:nvSpPr>
        <p:spPr>
          <a:xfrm>
            <a:off x="8065480" y="7471507"/>
            <a:ext cx="4126521" cy="6858000"/>
          </a:xfrm>
          <a:prstGeom prst="rect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B34CE9D-6BF5-254A-9B50-C50ABEF44EB6}"/>
              </a:ext>
            </a:extLst>
          </p:cNvPr>
          <p:cNvSpPr/>
          <p:nvPr userDrawn="1"/>
        </p:nvSpPr>
        <p:spPr>
          <a:xfrm>
            <a:off x="4572002" y="9626600"/>
            <a:ext cx="2899508" cy="4191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Copy these rectangle shapes and paste into the slide to cover the agenda items for section divider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88FDB2D-B209-8E43-AC60-861EB05E334C}"/>
              </a:ext>
            </a:extLst>
          </p:cNvPr>
          <p:cNvSpPr/>
          <p:nvPr userDrawn="1"/>
        </p:nvSpPr>
        <p:spPr>
          <a:xfrm>
            <a:off x="6240434" y="-2824697"/>
            <a:ext cx="1824092" cy="1824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defTabSz="914309">
              <a:defRPr/>
            </a:pPr>
            <a:r>
              <a:rPr lang="en-US" sz="12800" b="1" dirty="0">
                <a:solidFill>
                  <a:srgbClr val="FFFFFF">
                    <a:alpha val="34000"/>
                  </a:srgbClr>
                </a:solidFill>
                <a:latin typeface="Arial"/>
              </a:rPr>
              <a:t>3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5FD0D47-0308-4244-A22A-75773EB57B03}"/>
              </a:ext>
            </a:extLst>
          </p:cNvPr>
          <p:cNvSpPr/>
          <p:nvPr userDrawn="1"/>
        </p:nvSpPr>
        <p:spPr>
          <a:xfrm>
            <a:off x="3302946" y="-2824697"/>
            <a:ext cx="1824092" cy="1824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defTabSz="914309">
              <a:defRPr/>
            </a:pPr>
            <a:r>
              <a:rPr lang="en-US" sz="12800" b="1" dirty="0">
                <a:solidFill>
                  <a:srgbClr val="FFFFFF">
                    <a:alpha val="34000"/>
                  </a:srgbClr>
                </a:solidFill>
                <a:latin typeface="Arial"/>
              </a:rPr>
              <a:t>2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173A89A-AC4B-DF4A-B509-E543A1AE46B3}"/>
              </a:ext>
            </a:extLst>
          </p:cNvPr>
          <p:cNvSpPr/>
          <p:nvPr userDrawn="1"/>
        </p:nvSpPr>
        <p:spPr>
          <a:xfrm>
            <a:off x="255902" y="-2824697"/>
            <a:ext cx="1824092" cy="1824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defTabSz="914309"/>
            <a:r>
              <a:rPr lang="en-US" sz="12800" b="1" dirty="0">
                <a:solidFill>
                  <a:srgbClr val="FFFFFF">
                    <a:alpha val="34000"/>
                  </a:srgbClr>
                </a:solidFill>
              </a:rPr>
              <a:t>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8AC9283-4D61-7746-84C0-9C14BA93083F}"/>
              </a:ext>
            </a:extLst>
          </p:cNvPr>
          <p:cNvSpPr/>
          <p:nvPr userDrawn="1"/>
        </p:nvSpPr>
        <p:spPr>
          <a:xfrm>
            <a:off x="9213515" y="-2824697"/>
            <a:ext cx="1824092" cy="1824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defTabSz="914309">
              <a:defRPr/>
            </a:pPr>
            <a:r>
              <a:rPr lang="en-US" sz="12800" b="1" dirty="0">
                <a:solidFill>
                  <a:srgbClr val="FFFFFF">
                    <a:alpha val="34000"/>
                  </a:srgbClr>
                </a:solidFill>
                <a:latin typeface="Arial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409217342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_Section Divid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33"/>
          <p:cNvSpPr>
            <a:spLocks noGrp="1"/>
          </p:cNvSpPr>
          <p:nvPr userDrawn="1">
            <p:ph type="body" sz="quarter" idx="10"/>
          </p:nvPr>
        </p:nvSpPr>
        <p:spPr>
          <a:xfrm>
            <a:off x="314025" y="4523234"/>
            <a:ext cx="2743200" cy="1340697"/>
          </a:xfrm>
        </p:spPr>
        <p:txBody>
          <a:bodyPr/>
          <a:lstStyle>
            <a:lvl1pPr>
              <a:spcBef>
                <a:spcPts val="267"/>
              </a:spcBef>
              <a:spcAft>
                <a:spcPts val="133"/>
              </a:spcAft>
              <a:defRPr sz="1867">
                <a:solidFill>
                  <a:schemeClr val="tx1"/>
                </a:solidFill>
              </a:defRPr>
            </a:lvl1pPr>
            <a:lvl2pPr>
              <a:spcBef>
                <a:spcPts val="533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5" name="Text Placeholder 33"/>
          <p:cNvSpPr>
            <a:spLocks noGrp="1"/>
          </p:cNvSpPr>
          <p:nvPr userDrawn="1">
            <p:ph type="body" sz="quarter" idx="11"/>
          </p:nvPr>
        </p:nvSpPr>
        <p:spPr>
          <a:xfrm>
            <a:off x="6228523" y="4528998"/>
            <a:ext cx="2743200" cy="1340697"/>
          </a:xfrm>
        </p:spPr>
        <p:txBody>
          <a:bodyPr/>
          <a:lstStyle>
            <a:lvl1pPr>
              <a:spcBef>
                <a:spcPts val="267"/>
              </a:spcBef>
              <a:spcAft>
                <a:spcPts val="133"/>
              </a:spcAft>
              <a:defRPr sz="1867">
                <a:solidFill>
                  <a:schemeClr val="tx1"/>
                </a:solidFill>
              </a:defRPr>
            </a:lvl1pPr>
            <a:lvl2pPr>
              <a:spcBef>
                <a:spcPts val="533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ext Placeholder 3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6225449" y="3451274"/>
            <a:ext cx="2743200" cy="958911"/>
          </a:xfrm>
        </p:spPr>
        <p:txBody>
          <a:bodyPr anchor="b" anchorCtr="0">
            <a:noAutofit/>
          </a:bodyPr>
          <a:lstStyle>
            <a:lvl1pPr>
              <a:lnSpc>
                <a:spcPts val="2400"/>
              </a:lnSpc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36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96875" y="3451274"/>
            <a:ext cx="2743200" cy="958911"/>
          </a:xfrm>
        </p:spPr>
        <p:txBody>
          <a:bodyPr anchor="b" anchorCtr="0">
            <a:noAutofit/>
          </a:bodyPr>
          <a:lstStyle>
            <a:lvl1pPr>
              <a:lnSpc>
                <a:spcPts val="2400"/>
              </a:lnSpc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Text Placeholder 33"/>
          <p:cNvSpPr>
            <a:spLocks noGrp="1"/>
          </p:cNvSpPr>
          <p:nvPr userDrawn="1">
            <p:ph type="body" sz="quarter" idx="14"/>
          </p:nvPr>
        </p:nvSpPr>
        <p:spPr>
          <a:xfrm>
            <a:off x="3303024" y="4528998"/>
            <a:ext cx="2743200" cy="1340697"/>
          </a:xfrm>
        </p:spPr>
        <p:txBody>
          <a:bodyPr/>
          <a:lstStyle>
            <a:lvl1pPr>
              <a:spcBef>
                <a:spcPts val="267"/>
              </a:spcBef>
              <a:spcAft>
                <a:spcPts val="133"/>
              </a:spcAft>
              <a:defRPr sz="1867">
                <a:solidFill>
                  <a:schemeClr val="tx1"/>
                </a:solidFill>
              </a:defRPr>
            </a:lvl1pPr>
            <a:lvl2pPr>
              <a:spcBef>
                <a:spcPts val="533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3"/>
          <p:cNvSpPr>
            <a:spLocks noGrp="1"/>
          </p:cNvSpPr>
          <p:nvPr userDrawn="1">
            <p:ph type="body" sz="quarter" idx="15"/>
          </p:nvPr>
        </p:nvSpPr>
        <p:spPr>
          <a:xfrm>
            <a:off x="9141323" y="4528998"/>
            <a:ext cx="2743200" cy="1340697"/>
          </a:xfrm>
        </p:spPr>
        <p:txBody>
          <a:bodyPr/>
          <a:lstStyle>
            <a:lvl1pPr>
              <a:spcBef>
                <a:spcPts val="267"/>
              </a:spcBef>
              <a:spcAft>
                <a:spcPts val="133"/>
              </a:spcAft>
              <a:defRPr sz="1867">
                <a:solidFill>
                  <a:schemeClr val="tx1"/>
                </a:solidFill>
              </a:defRPr>
            </a:lvl1pPr>
            <a:lvl2pPr>
              <a:spcBef>
                <a:spcPts val="533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36"/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9141323" y="3451274"/>
            <a:ext cx="2743200" cy="958911"/>
          </a:xfrm>
        </p:spPr>
        <p:txBody>
          <a:bodyPr anchor="b" anchorCtr="0">
            <a:noAutofit/>
          </a:bodyPr>
          <a:lstStyle>
            <a:lvl1pPr>
              <a:lnSpc>
                <a:spcPts val="2400"/>
              </a:lnSpc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36"/>
          <p:cNvSpPr>
            <a:spLocks noGrp="1"/>
          </p:cNvSpPr>
          <p:nvPr>
            <p:ph type="body" sz="quarter" idx="18" hasCustomPrompt="1"/>
          </p:nvPr>
        </p:nvSpPr>
        <p:spPr>
          <a:xfrm>
            <a:off x="327615" y="3451274"/>
            <a:ext cx="2743200" cy="958911"/>
          </a:xfrm>
        </p:spPr>
        <p:txBody>
          <a:bodyPr anchor="b" anchorCtr="0">
            <a:noAutofit/>
          </a:bodyPr>
          <a:lstStyle>
            <a:lvl1pPr>
              <a:lnSpc>
                <a:spcPts val="2400"/>
              </a:lnSpc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Rechteck 16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327615" y="1219203"/>
            <a:ext cx="11582400" cy="51311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2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D113E8C-7EEF-FF4D-8B23-B29C32604C68}"/>
              </a:ext>
            </a:extLst>
          </p:cNvPr>
          <p:cNvSpPr/>
          <p:nvPr userDrawn="1"/>
        </p:nvSpPr>
        <p:spPr>
          <a:xfrm>
            <a:off x="1" y="-3845170"/>
            <a:ext cx="10879016" cy="31261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Use these numbers for the agenda. Copy + Paste onto your slide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Arial bold, 96pt, white, 66% transparency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1F5A825-7DFB-574B-ABCF-DB9181D9C355}"/>
              </a:ext>
            </a:extLst>
          </p:cNvPr>
          <p:cNvSpPr/>
          <p:nvPr userDrawn="1"/>
        </p:nvSpPr>
        <p:spPr>
          <a:xfrm>
            <a:off x="2" y="7343169"/>
            <a:ext cx="4220308" cy="6858000"/>
          </a:xfrm>
          <a:prstGeom prst="rect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841BDCE-C7D7-BD47-9729-7BDC98256D09}"/>
              </a:ext>
            </a:extLst>
          </p:cNvPr>
          <p:cNvSpPr/>
          <p:nvPr userDrawn="1"/>
        </p:nvSpPr>
        <p:spPr>
          <a:xfrm>
            <a:off x="8065480" y="7471507"/>
            <a:ext cx="4126521" cy="6858000"/>
          </a:xfrm>
          <a:prstGeom prst="rect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B34CE9D-6BF5-254A-9B50-C50ABEF44EB6}"/>
              </a:ext>
            </a:extLst>
          </p:cNvPr>
          <p:cNvSpPr/>
          <p:nvPr userDrawn="1"/>
        </p:nvSpPr>
        <p:spPr>
          <a:xfrm>
            <a:off x="4572002" y="9626600"/>
            <a:ext cx="2899508" cy="4191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Copy these rectangle shapes and paste into the slide to cover the agenda items for section divider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88FDB2D-B209-8E43-AC60-861EB05E334C}"/>
              </a:ext>
            </a:extLst>
          </p:cNvPr>
          <p:cNvSpPr/>
          <p:nvPr userDrawn="1"/>
        </p:nvSpPr>
        <p:spPr>
          <a:xfrm>
            <a:off x="6240434" y="-2824697"/>
            <a:ext cx="1824092" cy="1824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defTabSz="914309">
              <a:defRPr/>
            </a:pPr>
            <a:r>
              <a:rPr lang="en-US" sz="12800" b="1" dirty="0">
                <a:solidFill>
                  <a:srgbClr val="FFFFFF">
                    <a:alpha val="34000"/>
                  </a:srgbClr>
                </a:solidFill>
                <a:latin typeface="Arial"/>
              </a:rPr>
              <a:t>3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5FD0D47-0308-4244-A22A-75773EB57B03}"/>
              </a:ext>
            </a:extLst>
          </p:cNvPr>
          <p:cNvSpPr/>
          <p:nvPr userDrawn="1"/>
        </p:nvSpPr>
        <p:spPr>
          <a:xfrm>
            <a:off x="3302946" y="-2824697"/>
            <a:ext cx="1824092" cy="1824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defTabSz="914309">
              <a:defRPr/>
            </a:pPr>
            <a:r>
              <a:rPr lang="en-US" sz="12800" b="1" dirty="0">
                <a:solidFill>
                  <a:srgbClr val="FFFFFF">
                    <a:alpha val="34000"/>
                  </a:srgbClr>
                </a:solidFill>
                <a:latin typeface="Arial"/>
              </a:rPr>
              <a:t>2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173A89A-AC4B-DF4A-B509-E543A1AE46B3}"/>
              </a:ext>
            </a:extLst>
          </p:cNvPr>
          <p:cNvSpPr/>
          <p:nvPr userDrawn="1"/>
        </p:nvSpPr>
        <p:spPr>
          <a:xfrm>
            <a:off x="255902" y="-2824697"/>
            <a:ext cx="1824092" cy="1824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defTabSz="914309"/>
            <a:r>
              <a:rPr lang="en-US" sz="12800" b="1" dirty="0">
                <a:solidFill>
                  <a:srgbClr val="FFFFFF">
                    <a:alpha val="34000"/>
                  </a:srgbClr>
                </a:solidFill>
              </a:rPr>
              <a:t>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8AC9283-4D61-7746-84C0-9C14BA93083F}"/>
              </a:ext>
            </a:extLst>
          </p:cNvPr>
          <p:cNvSpPr/>
          <p:nvPr userDrawn="1"/>
        </p:nvSpPr>
        <p:spPr>
          <a:xfrm>
            <a:off x="9213515" y="-2824697"/>
            <a:ext cx="1824092" cy="1824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defTabSz="914309">
              <a:defRPr/>
            </a:pPr>
            <a:r>
              <a:rPr lang="en-US" sz="12800" b="1" dirty="0">
                <a:solidFill>
                  <a:srgbClr val="FFFFFF">
                    <a:alpha val="34000"/>
                  </a:srgbClr>
                </a:solidFill>
                <a:latin typeface="Arial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73552624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_Section Divid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33"/>
          <p:cNvSpPr>
            <a:spLocks noGrp="1"/>
          </p:cNvSpPr>
          <p:nvPr userDrawn="1">
            <p:ph type="body" sz="quarter" idx="10"/>
          </p:nvPr>
        </p:nvSpPr>
        <p:spPr>
          <a:xfrm>
            <a:off x="314025" y="4523234"/>
            <a:ext cx="2743200" cy="1340697"/>
          </a:xfrm>
        </p:spPr>
        <p:txBody>
          <a:bodyPr/>
          <a:lstStyle>
            <a:lvl1pPr>
              <a:spcBef>
                <a:spcPts val="267"/>
              </a:spcBef>
              <a:spcAft>
                <a:spcPts val="133"/>
              </a:spcAft>
              <a:defRPr sz="1867">
                <a:solidFill>
                  <a:schemeClr val="tx1"/>
                </a:solidFill>
              </a:defRPr>
            </a:lvl1pPr>
            <a:lvl2pPr>
              <a:spcBef>
                <a:spcPts val="533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36"/>
          <p:cNvSpPr>
            <a:spLocks noGrp="1"/>
          </p:cNvSpPr>
          <p:nvPr>
            <p:ph type="body" sz="quarter" idx="18" hasCustomPrompt="1"/>
          </p:nvPr>
        </p:nvSpPr>
        <p:spPr>
          <a:xfrm>
            <a:off x="327615" y="3451274"/>
            <a:ext cx="2743200" cy="958911"/>
          </a:xfrm>
        </p:spPr>
        <p:txBody>
          <a:bodyPr anchor="b" anchorCtr="0">
            <a:noAutofit/>
          </a:bodyPr>
          <a:lstStyle>
            <a:lvl1pPr>
              <a:lnSpc>
                <a:spcPts val="2400"/>
              </a:lnSpc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Rechteck 16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327615" y="1219203"/>
            <a:ext cx="11582400" cy="51311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2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D113E8C-7EEF-FF4D-8B23-B29C32604C68}"/>
              </a:ext>
            </a:extLst>
          </p:cNvPr>
          <p:cNvSpPr/>
          <p:nvPr userDrawn="1"/>
        </p:nvSpPr>
        <p:spPr>
          <a:xfrm>
            <a:off x="1" y="-3845170"/>
            <a:ext cx="10879016" cy="31261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Use these numbers for the agenda. Copy + Paste onto your slide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Arial bold, 96pt, white, 66% transparency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1F5A825-7DFB-574B-ABCF-DB9181D9C355}"/>
              </a:ext>
            </a:extLst>
          </p:cNvPr>
          <p:cNvSpPr/>
          <p:nvPr userDrawn="1"/>
        </p:nvSpPr>
        <p:spPr>
          <a:xfrm>
            <a:off x="2" y="7343169"/>
            <a:ext cx="4220308" cy="6858000"/>
          </a:xfrm>
          <a:prstGeom prst="rect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841BDCE-C7D7-BD47-9729-7BDC98256D09}"/>
              </a:ext>
            </a:extLst>
          </p:cNvPr>
          <p:cNvSpPr/>
          <p:nvPr userDrawn="1"/>
        </p:nvSpPr>
        <p:spPr>
          <a:xfrm>
            <a:off x="8065480" y="7471507"/>
            <a:ext cx="4126521" cy="6858000"/>
          </a:xfrm>
          <a:prstGeom prst="rect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B34CE9D-6BF5-254A-9B50-C50ABEF44EB6}"/>
              </a:ext>
            </a:extLst>
          </p:cNvPr>
          <p:cNvSpPr/>
          <p:nvPr userDrawn="1"/>
        </p:nvSpPr>
        <p:spPr>
          <a:xfrm>
            <a:off x="4572002" y="9626600"/>
            <a:ext cx="2899508" cy="4191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Copy these rectangle shapes and paste into the slide to cover the agenda items for section divider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88FDB2D-B209-8E43-AC60-861EB05E334C}"/>
              </a:ext>
            </a:extLst>
          </p:cNvPr>
          <p:cNvSpPr/>
          <p:nvPr userDrawn="1"/>
        </p:nvSpPr>
        <p:spPr>
          <a:xfrm>
            <a:off x="6240434" y="-2824697"/>
            <a:ext cx="1824092" cy="1824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defTabSz="914309">
              <a:defRPr/>
            </a:pPr>
            <a:r>
              <a:rPr lang="en-US" sz="12800" b="1" dirty="0">
                <a:solidFill>
                  <a:srgbClr val="FFFFFF">
                    <a:alpha val="34000"/>
                  </a:srgbClr>
                </a:solidFill>
                <a:latin typeface="Arial"/>
              </a:rPr>
              <a:t>3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5FD0D47-0308-4244-A22A-75773EB57B03}"/>
              </a:ext>
            </a:extLst>
          </p:cNvPr>
          <p:cNvSpPr/>
          <p:nvPr userDrawn="1"/>
        </p:nvSpPr>
        <p:spPr>
          <a:xfrm>
            <a:off x="3302946" y="-2824697"/>
            <a:ext cx="1824092" cy="1824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defTabSz="914309">
              <a:defRPr/>
            </a:pPr>
            <a:r>
              <a:rPr lang="en-US" sz="12800" b="1" dirty="0">
                <a:solidFill>
                  <a:srgbClr val="FFFFFF">
                    <a:alpha val="34000"/>
                  </a:srgbClr>
                </a:solidFill>
                <a:latin typeface="Arial"/>
              </a:rPr>
              <a:t>2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173A89A-AC4B-DF4A-B509-E543A1AE46B3}"/>
              </a:ext>
            </a:extLst>
          </p:cNvPr>
          <p:cNvSpPr/>
          <p:nvPr userDrawn="1"/>
        </p:nvSpPr>
        <p:spPr>
          <a:xfrm>
            <a:off x="255902" y="-2824697"/>
            <a:ext cx="1824092" cy="1824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defTabSz="914309"/>
            <a:r>
              <a:rPr lang="en-US" sz="12800" b="1" dirty="0">
                <a:solidFill>
                  <a:srgbClr val="FFFFFF">
                    <a:alpha val="34000"/>
                  </a:srgbClr>
                </a:solidFill>
              </a:rPr>
              <a:t>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8AC9283-4D61-7746-84C0-9C14BA93083F}"/>
              </a:ext>
            </a:extLst>
          </p:cNvPr>
          <p:cNvSpPr/>
          <p:nvPr userDrawn="1"/>
        </p:nvSpPr>
        <p:spPr>
          <a:xfrm>
            <a:off x="9213515" y="-2824697"/>
            <a:ext cx="1824092" cy="1824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defTabSz="914309">
              <a:defRPr/>
            </a:pPr>
            <a:r>
              <a:rPr lang="en-US" sz="12800" b="1" dirty="0">
                <a:solidFill>
                  <a:srgbClr val="FFFFFF">
                    <a:alpha val="34000"/>
                  </a:srgbClr>
                </a:solidFill>
                <a:latin typeface="Arial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66933211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_Agenda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C70B974-BD18-AD4A-AA70-7DF705F92F2A}"/>
              </a:ext>
            </a:extLst>
          </p:cNvPr>
          <p:cNvSpPr/>
          <p:nvPr userDrawn="1"/>
        </p:nvSpPr>
        <p:spPr>
          <a:xfrm>
            <a:off x="1" y="-3845170"/>
            <a:ext cx="10879016" cy="31261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Use these numbers for the agenda. Copy + Paste onto your slide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Arial bold, 96pt, white, 66% transparency </a:t>
            </a:r>
          </a:p>
        </p:txBody>
      </p:sp>
      <p:sp>
        <p:nvSpPr>
          <p:cNvPr id="34" name="Text Placeholder 33"/>
          <p:cNvSpPr>
            <a:spLocks noGrp="1"/>
          </p:cNvSpPr>
          <p:nvPr userDrawn="1">
            <p:ph type="body" sz="quarter" idx="10"/>
          </p:nvPr>
        </p:nvSpPr>
        <p:spPr>
          <a:xfrm>
            <a:off x="314025" y="4523234"/>
            <a:ext cx="3137843" cy="1340697"/>
          </a:xfrm>
        </p:spPr>
        <p:txBody>
          <a:bodyPr/>
          <a:lstStyle>
            <a:lvl1pPr>
              <a:spcBef>
                <a:spcPts val="267"/>
              </a:spcBef>
              <a:spcAft>
                <a:spcPts val="133"/>
              </a:spcAft>
              <a:defRPr sz="1867">
                <a:solidFill>
                  <a:schemeClr val="tx1"/>
                </a:solidFill>
              </a:defRPr>
            </a:lvl1pPr>
            <a:lvl2pPr>
              <a:spcBef>
                <a:spcPts val="533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5" name="Text Placeholder 33"/>
          <p:cNvSpPr>
            <a:spLocks noGrp="1"/>
          </p:cNvSpPr>
          <p:nvPr userDrawn="1">
            <p:ph type="body" sz="quarter" idx="11"/>
          </p:nvPr>
        </p:nvSpPr>
        <p:spPr>
          <a:xfrm>
            <a:off x="8650832" y="4523234"/>
            <a:ext cx="3137843" cy="1340697"/>
          </a:xfrm>
        </p:spPr>
        <p:txBody>
          <a:bodyPr/>
          <a:lstStyle>
            <a:lvl1pPr>
              <a:spcBef>
                <a:spcPts val="267"/>
              </a:spcBef>
              <a:spcAft>
                <a:spcPts val="133"/>
              </a:spcAft>
              <a:defRPr sz="1867">
                <a:solidFill>
                  <a:schemeClr val="tx1"/>
                </a:solidFill>
              </a:defRPr>
            </a:lvl1pPr>
            <a:lvl2pPr>
              <a:spcBef>
                <a:spcPts val="533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ext Placeholder 3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8647757" y="3450336"/>
            <a:ext cx="3137843" cy="958911"/>
          </a:xfrm>
        </p:spPr>
        <p:txBody>
          <a:bodyPr anchor="b" anchorCtr="0">
            <a:noAutofit/>
          </a:bodyPr>
          <a:lstStyle>
            <a:lvl1pPr>
              <a:lnSpc>
                <a:spcPts val="2400"/>
              </a:lnSpc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36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550209" y="3450336"/>
            <a:ext cx="3137843" cy="958911"/>
          </a:xfrm>
        </p:spPr>
        <p:txBody>
          <a:bodyPr anchor="b" anchorCtr="0">
            <a:noAutofit/>
          </a:bodyPr>
          <a:lstStyle>
            <a:lvl1pPr>
              <a:lnSpc>
                <a:spcPts val="2400"/>
              </a:lnSpc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Text Placeholder 33"/>
          <p:cNvSpPr>
            <a:spLocks noGrp="1"/>
          </p:cNvSpPr>
          <p:nvPr userDrawn="1">
            <p:ph type="body" sz="quarter" idx="14"/>
          </p:nvPr>
        </p:nvSpPr>
        <p:spPr>
          <a:xfrm>
            <a:off x="4550209" y="4523234"/>
            <a:ext cx="3137843" cy="1340697"/>
          </a:xfrm>
        </p:spPr>
        <p:txBody>
          <a:bodyPr/>
          <a:lstStyle>
            <a:lvl1pPr>
              <a:spcBef>
                <a:spcPts val="267"/>
              </a:spcBef>
              <a:spcAft>
                <a:spcPts val="133"/>
              </a:spcAft>
              <a:defRPr sz="1867">
                <a:solidFill>
                  <a:schemeClr val="tx1"/>
                </a:solidFill>
              </a:defRPr>
            </a:lvl1pPr>
            <a:lvl2pPr>
              <a:spcBef>
                <a:spcPts val="533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36"/>
          <p:cNvSpPr>
            <a:spLocks noGrp="1"/>
          </p:cNvSpPr>
          <p:nvPr>
            <p:ph type="body" sz="quarter" idx="18" hasCustomPrompt="1"/>
          </p:nvPr>
        </p:nvSpPr>
        <p:spPr>
          <a:xfrm>
            <a:off x="327616" y="3450336"/>
            <a:ext cx="3137843" cy="958911"/>
          </a:xfrm>
        </p:spPr>
        <p:txBody>
          <a:bodyPr anchor="b" anchorCtr="0">
            <a:noAutofit/>
          </a:bodyPr>
          <a:lstStyle>
            <a:lvl1pPr>
              <a:lnSpc>
                <a:spcPts val="2400"/>
              </a:lnSpc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Rechteck 16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327615" y="1219203"/>
            <a:ext cx="11582400" cy="51311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2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3AF9F5C-ACC1-A84A-8DCA-D288AA3655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4027" y="1219200"/>
            <a:ext cx="11570496" cy="1768459"/>
          </a:xfrm>
        </p:spPr>
        <p:txBody>
          <a:bodyPr anchor="t" anchorCtr="0"/>
          <a:lstStyle>
            <a:lvl1pPr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sz="5333" b="1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2AB11F9-DF1C-FE4C-BE4F-B78C179010F6}"/>
              </a:ext>
            </a:extLst>
          </p:cNvPr>
          <p:cNvSpPr/>
          <p:nvPr userDrawn="1"/>
        </p:nvSpPr>
        <p:spPr>
          <a:xfrm>
            <a:off x="2" y="7471507"/>
            <a:ext cx="4220308" cy="6858000"/>
          </a:xfrm>
          <a:prstGeom prst="rect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12EDAD5-31FC-EE49-8AF3-E574D69CE9A6}"/>
              </a:ext>
            </a:extLst>
          </p:cNvPr>
          <p:cNvSpPr/>
          <p:nvPr userDrawn="1"/>
        </p:nvSpPr>
        <p:spPr>
          <a:xfrm>
            <a:off x="8065480" y="7471507"/>
            <a:ext cx="4126521" cy="6858000"/>
          </a:xfrm>
          <a:prstGeom prst="rect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791CCE6-A4A8-3D4C-935F-2BB8879F2CA2}"/>
              </a:ext>
            </a:extLst>
          </p:cNvPr>
          <p:cNvSpPr/>
          <p:nvPr userDrawn="1"/>
        </p:nvSpPr>
        <p:spPr>
          <a:xfrm>
            <a:off x="4572002" y="9626600"/>
            <a:ext cx="2899508" cy="4191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Copy these rectangle shapes and paste into the slide to cover the agenda items for section divider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D45F810-B0CE-894C-BC8C-2A8D14F534AF}"/>
              </a:ext>
            </a:extLst>
          </p:cNvPr>
          <p:cNvSpPr/>
          <p:nvPr userDrawn="1"/>
        </p:nvSpPr>
        <p:spPr>
          <a:xfrm>
            <a:off x="8682947" y="-2768598"/>
            <a:ext cx="1824092" cy="1824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defTabSz="914309">
              <a:defRPr/>
            </a:pPr>
            <a:r>
              <a:rPr lang="en-US" sz="12800" b="1" dirty="0">
                <a:solidFill>
                  <a:srgbClr val="FFFFFF">
                    <a:alpha val="34000"/>
                  </a:srgbClr>
                </a:solidFill>
                <a:latin typeface="Arial"/>
              </a:rPr>
              <a:t>3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4DA617C-4F40-B444-9FB0-6298319BED87}"/>
              </a:ext>
            </a:extLst>
          </p:cNvPr>
          <p:cNvSpPr/>
          <p:nvPr userDrawn="1"/>
        </p:nvSpPr>
        <p:spPr>
          <a:xfrm>
            <a:off x="4513098" y="-2768598"/>
            <a:ext cx="1824092" cy="1824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defTabSz="914309">
              <a:defRPr/>
            </a:pPr>
            <a:r>
              <a:rPr lang="en-US" sz="12800" b="1" dirty="0">
                <a:solidFill>
                  <a:srgbClr val="FFFFFF">
                    <a:alpha val="34000"/>
                  </a:srgbClr>
                </a:solidFill>
                <a:latin typeface="Arial"/>
              </a:rPr>
              <a:t>2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99CD6CF-95F2-4B44-94B1-E21145EB6C71}"/>
              </a:ext>
            </a:extLst>
          </p:cNvPr>
          <p:cNvSpPr/>
          <p:nvPr userDrawn="1"/>
        </p:nvSpPr>
        <p:spPr>
          <a:xfrm>
            <a:off x="181039" y="-2768598"/>
            <a:ext cx="1824092" cy="1824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defTabSz="914309"/>
            <a:r>
              <a:rPr lang="en-US" sz="12800" b="1" dirty="0">
                <a:solidFill>
                  <a:srgbClr val="FFFFFF">
                    <a:alpha val="34000"/>
                  </a:srgbClr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26693061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_Section Divid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C70B974-BD18-AD4A-AA70-7DF705F92F2A}"/>
              </a:ext>
            </a:extLst>
          </p:cNvPr>
          <p:cNvSpPr/>
          <p:nvPr userDrawn="1"/>
        </p:nvSpPr>
        <p:spPr>
          <a:xfrm>
            <a:off x="1" y="-3845170"/>
            <a:ext cx="10879016" cy="31261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Use these numbers for the agenda. Copy + Paste onto your slide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Arial bold, 96pt, white, 66% transparency </a:t>
            </a:r>
          </a:p>
        </p:txBody>
      </p:sp>
      <p:sp>
        <p:nvSpPr>
          <p:cNvPr id="34" name="Text Placeholder 33"/>
          <p:cNvSpPr>
            <a:spLocks noGrp="1"/>
          </p:cNvSpPr>
          <p:nvPr userDrawn="1">
            <p:ph type="body" sz="quarter" idx="10"/>
          </p:nvPr>
        </p:nvSpPr>
        <p:spPr>
          <a:xfrm>
            <a:off x="314025" y="4523234"/>
            <a:ext cx="3137843" cy="1340697"/>
          </a:xfrm>
        </p:spPr>
        <p:txBody>
          <a:bodyPr/>
          <a:lstStyle>
            <a:lvl1pPr>
              <a:spcBef>
                <a:spcPts val="267"/>
              </a:spcBef>
              <a:spcAft>
                <a:spcPts val="133"/>
              </a:spcAft>
              <a:defRPr sz="1867">
                <a:solidFill>
                  <a:schemeClr val="tx1"/>
                </a:solidFill>
              </a:defRPr>
            </a:lvl1pPr>
            <a:lvl2pPr>
              <a:spcBef>
                <a:spcPts val="533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5" name="Text Placeholder 33"/>
          <p:cNvSpPr>
            <a:spLocks noGrp="1"/>
          </p:cNvSpPr>
          <p:nvPr userDrawn="1">
            <p:ph type="body" sz="quarter" idx="11"/>
          </p:nvPr>
        </p:nvSpPr>
        <p:spPr>
          <a:xfrm>
            <a:off x="8650832" y="4523234"/>
            <a:ext cx="3137843" cy="1340697"/>
          </a:xfrm>
        </p:spPr>
        <p:txBody>
          <a:bodyPr/>
          <a:lstStyle>
            <a:lvl1pPr>
              <a:spcBef>
                <a:spcPts val="267"/>
              </a:spcBef>
              <a:spcAft>
                <a:spcPts val="133"/>
              </a:spcAft>
              <a:defRPr sz="1867">
                <a:solidFill>
                  <a:schemeClr val="tx1"/>
                </a:solidFill>
              </a:defRPr>
            </a:lvl1pPr>
            <a:lvl2pPr>
              <a:spcBef>
                <a:spcPts val="533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Text Placeholder 3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8647757" y="3450336"/>
            <a:ext cx="3137843" cy="958911"/>
          </a:xfrm>
        </p:spPr>
        <p:txBody>
          <a:bodyPr anchor="b" anchorCtr="0">
            <a:noAutofit/>
          </a:bodyPr>
          <a:lstStyle>
            <a:lvl1pPr>
              <a:lnSpc>
                <a:spcPts val="2400"/>
              </a:lnSpc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Text Placeholder 36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550209" y="3450336"/>
            <a:ext cx="3137843" cy="958911"/>
          </a:xfrm>
        </p:spPr>
        <p:txBody>
          <a:bodyPr anchor="b" anchorCtr="0">
            <a:noAutofit/>
          </a:bodyPr>
          <a:lstStyle>
            <a:lvl1pPr>
              <a:lnSpc>
                <a:spcPts val="2400"/>
              </a:lnSpc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Text Placeholder 33"/>
          <p:cNvSpPr>
            <a:spLocks noGrp="1"/>
          </p:cNvSpPr>
          <p:nvPr userDrawn="1">
            <p:ph type="body" sz="quarter" idx="14"/>
          </p:nvPr>
        </p:nvSpPr>
        <p:spPr>
          <a:xfrm>
            <a:off x="4550209" y="4523234"/>
            <a:ext cx="3137843" cy="1340697"/>
          </a:xfrm>
        </p:spPr>
        <p:txBody>
          <a:bodyPr/>
          <a:lstStyle>
            <a:lvl1pPr>
              <a:spcBef>
                <a:spcPts val="267"/>
              </a:spcBef>
              <a:spcAft>
                <a:spcPts val="133"/>
              </a:spcAft>
              <a:defRPr sz="1867">
                <a:solidFill>
                  <a:schemeClr val="tx1"/>
                </a:solidFill>
              </a:defRPr>
            </a:lvl1pPr>
            <a:lvl2pPr>
              <a:spcBef>
                <a:spcPts val="533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36"/>
          <p:cNvSpPr>
            <a:spLocks noGrp="1"/>
          </p:cNvSpPr>
          <p:nvPr>
            <p:ph type="body" sz="quarter" idx="18" hasCustomPrompt="1"/>
          </p:nvPr>
        </p:nvSpPr>
        <p:spPr>
          <a:xfrm>
            <a:off x="327616" y="3450336"/>
            <a:ext cx="3137843" cy="958911"/>
          </a:xfrm>
        </p:spPr>
        <p:txBody>
          <a:bodyPr anchor="b" anchorCtr="0">
            <a:noAutofit/>
          </a:bodyPr>
          <a:lstStyle>
            <a:lvl1pPr>
              <a:lnSpc>
                <a:spcPts val="2400"/>
              </a:lnSpc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Rechteck 16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327615" y="1219203"/>
            <a:ext cx="11582400" cy="51311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24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2AB11F9-DF1C-FE4C-BE4F-B78C179010F6}"/>
              </a:ext>
            </a:extLst>
          </p:cNvPr>
          <p:cNvSpPr/>
          <p:nvPr userDrawn="1"/>
        </p:nvSpPr>
        <p:spPr>
          <a:xfrm>
            <a:off x="2" y="7471507"/>
            <a:ext cx="4220308" cy="6858000"/>
          </a:xfrm>
          <a:prstGeom prst="rect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12EDAD5-31FC-EE49-8AF3-E574D69CE9A6}"/>
              </a:ext>
            </a:extLst>
          </p:cNvPr>
          <p:cNvSpPr/>
          <p:nvPr userDrawn="1"/>
        </p:nvSpPr>
        <p:spPr>
          <a:xfrm>
            <a:off x="8065480" y="7471507"/>
            <a:ext cx="4126521" cy="6858000"/>
          </a:xfrm>
          <a:prstGeom prst="rect">
            <a:avLst/>
          </a:prstGeom>
          <a:solidFill>
            <a:schemeClr val="accent2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09"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791CCE6-A4A8-3D4C-935F-2BB8879F2CA2}"/>
              </a:ext>
            </a:extLst>
          </p:cNvPr>
          <p:cNvSpPr/>
          <p:nvPr userDrawn="1"/>
        </p:nvSpPr>
        <p:spPr>
          <a:xfrm>
            <a:off x="4572002" y="9626600"/>
            <a:ext cx="2899508" cy="4191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Copy these rectangle shapes and paste into the slide to cover the agenda items for section divider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D45F810-B0CE-894C-BC8C-2A8D14F534AF}"/>
              </a:ext>
            </a:extLst>
          </p:cNvPr>
          <p:cNvSpPr/>
          <p:nvPr userDrawn="1"/>
        </p:nvSpPr>
        <p:spPr>
          <a:xfrm>
            <a:off x="8682947" y="-2768598"/>
            <a:ext cx="1824092" cy="1824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defTabSz="914309">
              <a:defRPr/>
            </a:pPr>
            <a:r>
              <a:rPr lang="en-US" sz="12800" b="1" dirty="0">
                <a:solidFill>
                  <a:srgbClr val="FFFFFF">
                    <a:alpha val="34000"/>
                  </a:srgbClr>
                </a:solidFill>
                <a:latin typeface="Arial"/>
              </a:rPr>
              <a:t>3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4DA617C-4F40-B444-9FB0-6298319BED87}"/>
              </a:ext>
            </a:extLst>
          </p:cNvPr>
          <p:cNvSpPr/>
          <p:nvPr userDrawn="1"/>
        </p:nvSpPr>
        <p:spPr>
          <a:xfrm>
            <a:off x="4513098" y="-2768598"/>
            <a:ext cx="1824092" cy="1824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defTabSz="914309">
              <a:defRPr/>
            </a:pPr>
            <a:r>
              <a:rPr lang="en-US" sz="12800" b="1" dirty="0">
                <a:solidFill>
                  <a:srgbClr val="FFFFFF">
                    <a:alpha val="34000"/>
                  </a:srgbClr>
                </a:solidFill>
                <a:latin typeface="Arial"/>
              </a:rPr>
              <a:t>2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99CD6CF-95F2-4B44-94B1-E21145EB6C71}"/>
              </a:ext>
            </a:extLst>
          </p:cNvPr>
          <p:cNvSpPr/>
          <p:nvPr userDrawn="1"/>
        </p:nvSpPr>
        <p:spPr>
          <a:xfrm>
            <a:off x="181039" y="-2768598"/>
            <a:ext cx="1824092" cy="18240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defTabSz="914309"/>
            <a:r>
              <a:rPr lang="en-US" sz="12800" b="1" dirty="0">
                <a:solidFill>
                  <a:srgbClr val="FFFFFF">
                    <a:alpha val="34000"/>
                  </a:srgbClr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39904377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s-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Text Placeholder 33"/>
          <p:cNvSpPr>
            <a:spLocks noGrp="1"/>
          </p:cNvSpPr>
          <p:nvPr>
            <p:ph type="body" sz="quarter" idx="11"/>
          </p:nvPr>
        </p:nvSpPr>
        <p:spPr>
          <a:xfrm>
            <a:off x="314025" y="5684689"/>
            <a:ext cx="2743200" cy="1340697"/>
          </a:xfrm>
        </p:spPr>
        <p:txBody>
          <a:bodyPr/>
          <a:lstStyle>
            <a:lvl1pPr>
              <a:spcBef>
                <a:spcPts val="267"/>
              </a:spcBef>
              <a:spcAft>
                <a:spcPts val="133"/>
              </a:spcAft>
              <a:defRPr sz="1867">
                <a:solidFill>
                  <a:schemeClr val="tx1"/>
                </a:solidFill>
              </a:defRPr>
            </a:lvl1pPr>
            <a:lvl2pPr>
              <a:spcBef>
                <a:spcPts val="533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33"/>
          <p:cNvSpPr>
            <a:spLocks noGrp="1"/>
          </p:cNvSpPr>
          <p:nvPr>
            <p:ph type="body" sz="quarter" idx="12"/>
          </p:nvPr>
        </p:nvSpPr>
        <p:spPr>
          <a:xfrm>
            <a:off x="6114223" y="5684689"/>
            <a:ext cx="2743200" cy="1340697"/>
          </a:xfrm>
        </p:spPr>
        <p:txBody>
          <a:bodyPr/>
          <a:lstStyle>
            <a:lvl1pPr>
              <a:spcBef>
                <a:spcPts val="267"/>
              </a:spcBef>
              <a:spcAft>
                <a:spcPts val="133"/>
              </a:spcAft>
              <a:defRPr sz="1867">
                <a:solidFill>
                  <a:schemeClr val="tx1"/>
                </a:solidFill>
              </a:defRPr>
            </a:lvl1pPr>
            <a:lvl2pPr>
              <a:spcBef>
                <a:spcPts val="533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36"/>
          <p:cNvSpPr>
            <a:spLocks noGrp="1"/>
          </p:cNvSpPr>
          <p:nvPr>
            <p:ph type="body" sz="quarter" idx="13" hasCustomPrompt="1"/>
          </p:nvPr>
        </p:nvSpPr>
        <p:spPr>
          <a:xfrm>
            <a:off x="6111149" y="4606965"/>
            <a:ext cx="2743200" cy="958911"/>
          </a:xfrm>
        </p:spPr>
        <p:txBody>
          <a:bodyPr anchor="b" anchorCtr="0">
            <a:noAutofit/>
          </a:bodyPr>
          <a:lstStyle>
            <a:lvl1pPr>
              <a:lnSpc>
                <a:spcPts val="2400"/>
              </a:lnSpc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36"/>
          <p:cNvSpPr>
            <a:spLocks noGrp="1"/>
          </p:cNvSpPr>
          <p:nvPr>
            <p:ph type="body" sz="quarter" idx="14" hasCustomPrompt="1"/>
          </p:nvPr>
        </p:nvSpPr>
        <p:spPr>
          <a:xfrm>
            <a:off x="3207975" y="4606965"/>
            <a:ext cx="2743200" cy="958911"/>
          </a:xfrm>
        </p:spPr>
        <p:txBody>
          <a:bodyPr anchor="b" anchorCtr="0">
            <a:noAutofit/>
          </a:bodyPr>
          <a:lstStyle>
            <a:lvl1pPr>
              <a:lnSpc>
                <a:spcPts val="2400"/>
              </a:lnSpc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3214124" y="5684689"/>
            <a:ext cx="2743200" cy="1340697"/>
          </a:xfrm>
        </p:spPr>
        <p:txBody>
          <a:bodyPr/>
          <a:lstStyle>
            <a:lvl1pPr>
              <a:spcBef>
                <a:spcPts val="267"/>
              </a:spcBef>
              <a:spcAft>
                <a:spcPts val="133"/>
              </a:spcAft>
              <a:defRPr sz="1867">
                <a:solidFill>
                  <a:schemeClr val="tx1"/>
                </a:solidFill>
              </a:defRPr>
            </a:lvl1pPr>
            <a:lvl2pPr>
              <a:spcBef>
                <a:spcPts val="533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9014323" y="5684689"/>
            <a:ext cx="2743200" cy="1340697"/>
          </a:xfrm>
        </p:spPr>
        <p:txBody>
          <a:bodyPr/>
          <a:lstStyle>
            <a:lvl1pPr>
              <a:spcBef>
                <a:spcPts val="267"/>
              </a:spcBef>
              <a:spcAft>
                <a:spcPts val="133"/>
              </a:spcAft>
              <a:defRPr sz="1867">
                <a:solidFill>
                  <a:schemeClr val="tx1"/>
                </a:solidFill>
              </a:defRPr>
            </a:lvl1pPr>
            <a:lvl2pPr>
              <a:spcBef>
                <a:spcPts val="533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36"/>
          <p:cNvSpPr>
            <a:spLocks noGrp="1"/>
          </p:cNvSpPr>
          <p:nvPr>
            <p:ph type="body" sz="quarter" idx="17" hasCustomPrompt="1"/>
          </p:nvPr>
        </p:nvSpPr>
        <p:spPr>
          <a:xfrm>
            <a:off x="9014323" y="4606965"/>
            <a:ext cx="2743200" cy="958911"/>
          </a:xfrm>
        </p:spPr>
        <p:txBody>
          <a:bodyPr anchor="b" anchorCtr="0">
            <a:noAutofit/>
          </a:bodyPr>
          <a:lstStyle>
            <a:lvl1pPr>
              <a:lnSpc>
                <a:spcPts val="2400"/>
              </a:lnSpc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36"/>
          <p:cNvSpPr>
            <a:spLocks noGrp="1"/>
          </p:cNvSpPr>
          <p:nvPr>
            <p:ph type="body" sz="quarter" idx="18" hasCustomPrompt="1"/>
          </p:nvPr>
        </p:nvSpPr>
        <p:spPr>
          <a:xfrm>
            <a:off x="327615" y="4606965"/>
            <a:ext cx="2743200" cy="958911"/>
          </a:xfrm>
        </p:spPr>
        <p:txBody>
          <a:bodyPr anchor="b" anchorCtr="0">
            <a:noAutofit/>
          </a:bodyPr>
          <a:lstStyle>
            <a:lvl1pPr>
              <a:lnSpc>
                <a:spcPts val="2400"/>
              </a:lnSpc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314027" y="1219201"/>
            <a:ext cx="11453284" cy="1763091"/>
          </a:xfrm>
        </p:spPr>
        <p:txBody>
          <a:bodyPr anchor="t" anchorCtr="0"/>
          <a:lstStyle>
            <a:lvl1pPr>
              <a:lnSpc>
                <a:spcPts val="5600"/>
              </a:lnSpc>
              <a:spcBef>
                <a:spcPts val="0"/>
              </a:spcBef>
              <a:spcAft>
                <a:spcPts val="0"/>
              </a:spcAft>
              <a:defRPr sz="5333" b="1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327617" y="2720105"/>
            <a:ext cx="1824567" cy="1824567"/>
          </a:xfrm>
          <a:prstGeom prst="rect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40" bIns="243840" rtlCol="0" anchor="b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133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Headshot goes here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133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1.5” x 1.5”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172417" y="2720105"/>
            <a:ext cx="1824567" cy="1824567"/>
          </a:xfrm>
          <a:prstGeom prst="rect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40" bIns="243840" rtlCol="0" anchor="b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133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Headshot goes here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133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1.5” x 1.5”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6091109" y="2720105"/>
            <a:ext cx="1824567" cy="1824567"/>
          </a:xfrm>
          <a:prstGeom prst="rect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40" bIns="243840" rtlCol="0" anchor="b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133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Headshot goes here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133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1.5” x 1.5”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8991327" y="2720105"/>
            <a:ext cx="1824567" cy="1824567"/>
          </a:xfrm>
          <a:prstGeom prst="rect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40" bIns="243840" rtlCol="0" anchor="b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133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Headshot goes here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133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1.5” x 1.5”</a:t>
            </a:r>
          </a:p>
        </p:txBody>
      </p:sp>
    </p:spTree>
    <p:extLst>
      <p:ext uri="{BB962C8B-B14F-4D97-AF65-F5344CB8AC3E}">
        <p14:creationId xmlns:p14="http://schemas.microsoft.com/office/powerpoint/2010/main" val="22634747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-agenda-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8FFF82D-370F-D746-A4FA-23A8D59237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Section title">
            <a:extLst>
              <a:ext uri="{FF2B5EF4-FFF2-40B4-BE49-F238E27FC236}">
                <a16:creationId xmlns:a16="http://schemas.microsoft.com/office/drawing/2014/main" id="{0AB29E21-D7F7-4544-B708-4EF94DAEC2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2" y="868680"/>
            <a:ext cx="11585448" cy="1499616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87000"/>
              </a:lnSpc>
              <a:defRPr sz="6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ection-1">
            <a:extLst>
              <a:ext uri="{FF2B5EF4-FFF2-40B4-BE49-F238E27FC236}">
                <a16:creationId xmlns:a16="http://schemas.microsoft.com/office/drawing/2014/main" id="{96FE0146-0E38-554F-9C80-30E69B9971C6}"/>
              </a:ext>
            </a:extLst>
          </p:cNvPr>
          <p:cNvSpPr>
            <a:spLocks noGrp="1" noChangeAspect="1"/>
          </p:cNvSpPr>
          <p:nvPr>
            <p:ph type="body" sz="quarter" idx="12" hasCustomPrompt="1"/>
          </p:nvPr>
        </p:nvSpPr>
        <p:spPr>
          <a:xfrm>
            <a:off x="307975" y="4401085"/>
            <a:ext cx="2715768" cy="1540111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2000" b="0">
                <a:solidFill>
                  <a:schemeClr val="tx2"/>
                </a:solidFill>
              </a:defRPr>
            </a:lvl1pPr>
            <a:lvl2pPr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1800" b="0" cap="none" baseline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/>
              <a:t>Title of section</a:t>
            </a:r>
          </a:p>
          <a:p>
            <a:pPr lvl="1"/>
            <a:r>
              <a:rPr lang="en-US" dirty="0"/>
              <a:t>Smaller title of section</a:t>
            </a:r>
          </a:p>
        </p:txBody>
      </p:sp>
      <p:sp>
        <p:nvSpPr>
          <p:cNvPr id="20" name="Chunky-number-1">
            <a:extLst>
              <a:ext uri="{FF2B5EF4-FFF2-40B4-BE49-F238E27FC236}">
                <a16:creationId xmlns:a16="http://schemas.microsoft.com/office/drawing/2014/main" id="{42A387A4-A164-B94C-A2AC-D6661CD03F78}"/>
              </a:ext>
            </a:extLst>
          </p:cNvPr>
          <p:cNvSpPr/>
          <p:nvPr userDrawn="1"/>
        </p:nvSpPr>
        <p:spPr>
          <a:xfrm>
            <a:off x="191925" y="2846904"/>
            <a:ext cx="1903575" cy="1692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/>
          <a:p>
            <a:pPr defTabSz="685766"/>
            <a:r>
              <a:rPr lang="en-US" sz="11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6" name="Section-2">
            <a:extLst>
              <a:ext uri="{FF2B5EF4-FFF2-40B4-BE49-F238E27FC236}">
                <a16:creationId xmlns:a16="http://schemas.microsoft.com/office/drawing/2014/main" id="{D8E33AB1-7AE1-E540-9108-EC828A5C9853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3276600" y="4401085"/>
            <a:ext cx="2715768" cy="154011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09555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0" kern="1200" cap="none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609555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lang="en-US" sz="1800" b="0" kern="1200" cap="none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Title of section</a:t>
            </a:r>
          </a:p>
          <a:p>
            <a:pPr lvl="1"/>
            <a:r>
              <a:rPr lang="en-US" dirty="0"/>
              <a:t>Smaller title of section</a:t>
            </a:r>
          </a:p>
        </p:txBody>
      </p:sp>
      <p:sp>
        <p:nvSpPr>
          <p:cNvPr id="23" name="Chunky-number-2">
            <a:extLst>
              <a:ext uri="{FF2B5EF4-FFF2-40B4-BE49-F238E27FC236}">
                <a16:creationId xmlns:a16="http://schemas.microsoft.com/office/drawing/2014/main" id="{E993C4EA-9DB0-734F-8B57-D6AE8F423E3D}"/>
              </a:ext>
            </a:extLst>
          </p:cNvPr>
          <p:cNvSpPr/>
          <p:nvPr userDrawn="1"/>
        </p:nvSpPr>
        <p:spPr>
          <a:xfrm>
            <a:off x="3276600" y="2846904"/>
            <a:ext cx="1903575" cy="1692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/>
          <a:p>
            <a:pPr defTabSz="685766"/>
            <a:r>
              <a:rPr lang="en-US" sz="11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7" name="Section-3">
            <a:extLst>
              <a:ext uri="{FF2B5EF4-FFF2-40B4-BE49-F238E27FC236}">
                <a16:creationId xmlns:a16="http://schemas.microsoft.com/office/drawing/2014/main" id="{B9DE12DB-EDD8-974A-9AEA-E51FDB9CB4CC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6235700" y="4401085"/>
            <a:ext cx="2715768" cy="154011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09555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0" kern="1200" cap="none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609555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lang="en-US" sz="1800" b="0" kern="1200" cap="none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Title of section</a:t>
            </a:r>
          </a:p>
          <a:p>
            <a:pPr lvl="1"/>
            <a:r>
              <a:rPr lang="en-US" dirty="0"/>
              <a:t>Smaller title of section</a:t>
            </a:r>
          </a:p>
        </p:txBody>
      </p:sp>
      <p:sp>
        <p:nvSpPr>
          <p:cNvPr id="24" name="Chunky-number-3">
            <a:extLst>
              <a:ext uri="{FF2B5EF4-FFF2-40B4-BE49-F238E27FC236}">
                <a16:creationId xmlns:a16="http://schemas.microsoft.com/office/drawing/2014/main" id="{16C70410-9972-6F4D-8884-371D99E18E38}"/>
              </a:ext>
            </a:extLst>
          </p:cNvPr>
          <p:cNvSpPr/>
          <p:nvPr userDrawn="1"/>
        </p:nvSpPr>
        <p:spPr>
          <a:xfrm>
            <a:off x="6235700" y="2846904"/>
            <a:ext cx="1903575" cy="1692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/>
          <a:p>
            <a:pPr defTabSz="685766"/>
            <a:r>
              <a:rPr lang="en-US" sz="11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8" name="Section-4">
            <a:extLst>
              <a:ext uri="{FF2B5EF4-FFF2-40B4-BE49-F238E27FC236}">
                <a16:creationId xmlns:a16="http://schemas.microsoft.com/office/drawing/2014/main" id="{68DFF7D7-1335-A04A-8DC6-C594575D3617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9182100" y="4401085"/>
            <a:ext cx="2715768" cy="154011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09555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0" kern="1200" cap="none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609555" rtl="0" eaLnBrk="1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lang="en-US" sz="1800" b="0" kern="1200" cap="none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en-US" dirty="0"/>
              <a:t>Title of section</a:t>
            </a:r>
          </a:p>
          <a:p>
            <a:pPr lvl="1"/>
            <a:r>
              <a:rPr lang="en-US" dirty="0"/>
              <a:t>Smaller title of section</a:t>
            </a:r>
          </a:p>
        </p:txBody>
      </p:sp>
      <p:sp>
        <p:nvSpPr>
          <p:cNvPr id="25" name="Chunky-number-4">
            <a:extLst>
              <a:ext uri="{FF2B5EF4-FFF2-40B4-BE49-F238E27FC236}">
                <a16:creationId xmlns:a16="http://schemas.microsoft.com/office/drawing/2014/main" id="{EDBCE587-7EE3-6E4C-B2AE-214349C2C50A}"/>
              </a:ext>
            </a:extLst>
          </p:cNvPr>
          <p:cNvSpPr/>
          <p:nvPr userDrawn="1"/>
        </p:nvSpPr>
        <p:spPr>
          <a:xfrm>
            <a:off x="9182100" y="2846904"/>
            <a:ext cx="1903575" cy="169277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>
            <a:spAutoFit/>
          </a:bodyPr>
          <a:lstStyle/>
          <a:p>
            <a:pPr defTabSz="685766"/>
            <a:r>
              <a:rPr lang="en-US" sz="11000" b="1" dirty="0">
                <a:solidFill>
                  <a:schemeClr val="tx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3171956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s-gre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314027" y="1219201"/>
            <a:ext cx="11453284" cy="1763091"/>
          </a:xfrm>
        </p:spPr>
        <p:txBody>
          <a:bodyPr anchor="t" anchorCtr="0"/>
          <a:lstStyle>
            <a:lvl1pPr>
              <a:lnSpc>
                <a:spcPts val="5600"/>
              </a:lnSpc>
              <a:spcBef>
                <a:spcPts val="0"/>
              </a:spcBef>
              <a:spcAft>
                <a:spcPts val="0"/>
              </a:spcAft>
              <a:defRPr sz="5333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33"/>
          <p:cNvSpPr>
            <a:spLocks noGrp="1"/>
          </p:cNvSpPr>
          <p:nvPr>
            <p:ph type="body" sz="quarter" idx="11"/>
          </p:nvPr>
        </p:nvSpPr>
        <p:spPr>
          <a:xfrm>
            <a:off x="314025" y="5684689"/>
            <a:ext cx="2743200" cy="1340697"/>
          </a:xfrm>
        </p:spPr>
        <p:txBody>
          <a:bodyPr/>
          <a:lstStyle>
            <a:lvl1pPr>
              <a:spcBef>
                <a:spcPts val="267"/>
              </a:spcBef>
              <a:spcAft>
                <a:spcPts val="133"/>
              </a:spcAft>
              <a:defRPr sz="1867">
                <a:solidFill>
                  <a:schemeClr val="tx2"/>
                </a:solidFill>
              </a:defRPr>
            </a:lvl1pPr>
            <a:lvl2pPr>
              <a:spcBef>
                <a:spcPts val="533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12"/>
          </p:nvPr>
        </p:nvSpPr>
        <p:spPr>
          <a:xfrm>
            <a:off x="6114223" y="5684689"/>
            <a:ext cx="2743200" cy="1340697"/>
          </a:xfrm>
        </p:spPr>
        <p:txBody>
          <a:bodyPr/>
          <a:lstStyle>
            <a:lvl1pPr>
              <a:spcBef>
                <a:spcPts val="267"/>
              </a:spcBef>
              <a:spcAft>
                <a:spcPts val="133"/>
              </a:spcAft>
              <a:defRPr sz="1867">
                <a:solidFill>
                  <a:schemeClr val="tx2"/>
                </a:solidFill>
              </a:defRPr>
            </a:lvl1pPr>
            <a:lvl2pPr>
              <a:spcBef>
                <a:spcPts val="533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36"/>
          <p:cNvSpPr>
            <a:spLocks noGrp="1"/>
          </p:cNvSpPr>
          <p:nvPr>
            <p:ph type="body" sz="quarter" idx="13" hasCustomPrompt="1"/>
          </p:nvPr>
        </p:nvSpPr>
        <p:spPr>
          <a:xfrm>
            <a:off x="6111149" y="4606965"/>
            <a:ext cx="2743200" cy="958911"/>
          </a:xfrm>
        </p:spPr>
        <p:txBody>
          <a:bodyPr anchor="b" anchorCtr="0">
            <a:noAutofit/>
          </a:bodyPr>
          <a:lstStyle>
            <a:lvl1pPr>
              <a:lnSpc>
                <a:spcPts val="2400"/>
              </a:lnSpc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36"/>
          <p:cNvSpPr>
            <a:spLocks noGrp="1"/>
          </p:cNvSpPr>
          <p:nvPr>
            <p:ph type="body" sz="quarter" idx="14" hasCustomPrompt="1"/>
          </p:nvPr>
        </p:nvSpPr>
        <p:spPr>
          <a:xfrm>
            <a:off x="3207975" y="4606965"/>
            <a:ext cx="2743200" cy="958911"/>
          </a:xfrm>
        </p:spPr>
        <p:txBody>
          <a:bodyPr anchor="b" anchorCtr="0">
            <a:noAutofit/>
          </a:bodyPr>
          <a:lstStyle>
            <a:lvl1pPr>
              <a:lnSpc>
                <a:spcPts val="2400"/>
              </a:lnSpc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3214124" y="5684689"/>
            <a:ext cx="2743200" cy="1340697"/>
          </a:xfrm>
        </p:spPr>
        <p:txBody>
          <a:bodyPr/>
          <a:lstStyle>
            <a:lvl1pPr>
              <a:spcBef>
                <a:spcPts val="267"/>
              </a:spcBef>
              <a:spcAft>
                <a:spcPts val="133"/>
              </a:spcAft>
              <a:defRPr sz="1867">
                <a:solidFill>
                  <a:schemeClr val="tx2"/>
                </a:solidFill>
              </a:defRPr>
            </a:lvl1pPr>
            <a:lvl2pPr>
              <a:spcBef>
                <a:spcPts val="533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9014323" y="5684689"/>
            <a:ext cx="2743200" cy="1340697"/>
          </a:xfrm>
        </p:spPr>
        <p:txBody>
          <a:bodyPr/>
          <a:lstStyle>
            <a:lvl1pPr>
              <a:spcBef>
                <a:spcPts val="267"/>
              </a:spcBef>
              <a:spcAft>
                <a:spcPts val="133"/>
              </a:spcAft>
              <a:defRPr sz="1867">
                <a:solidFill>
                  <a:schemeClr val="tx2"/>
                </a:solidFill>
              </a:defRPr>
            </a:lvl1pPr>
            <a:lvl2pPr>
              <a:spcBef>
                <a:spcPts val="533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36"/>
          <p:cNvSpPr>
            <a:spLocks noGrp="1"/>
          </p:cNvSpPr>
          <p:nvPr>
            <p:ph type="body" sz="quarter" idx="17" hasCustomPrompt="1"/>
          </p:nvPr>
        </p:nvSpPr>
        <p:spPr>
          <a:xfrm>
            <a:off x="9014323" y="4606965"/>
            <a:ext cx="2743200" cy="958911"/>
          </a:xfrm>
        </p:spPr>
        <p:txBody>
          <a:bodyPr anchor="b" anchorCtr="0">
            <a:noAutofit/>
          </a:bodyPr>
          <a:lstStyle>
            <a:lvl1pPr>
              <a:lnSpc>
                <a:spcPts val="2400"/>
              </a:lnSpc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36"/>
          <p:cNvSpPr>
            <a:spLocks noGrp="1"/>
          </p:cNvSpPr>
          <p:nvPr>
            <p:ph type="body" sz="quarter" idx="18" hasCustomPrompt="1"/>
          </p:nvPr>
        </p:nvSpPr>
        <p:spPr>
          <a:xfrm>
            <a:off x="327615" y="4606965"/>
            <a:ext cx="2743200" cy="958911"/>
          </a:xfrm>
        </p:spPr>
        <p:txBody>
          <a:bodyPr anchor="b" anchorCtr="0">
            <a:noAutofit/>
          </a:bodyPr>
          <a:lstStyle>
            <a:lvl1pPr>
              <a:lnSpc>
                <a:spcPts val="2400"/>
              </a:lnSpc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327617" y="2720105"/>
            <a:ext cx="1824567" cy="1824567"/>
          </a:xfrm>
          <a:prstGeom prst="rect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40" bIns="243840" rtlCol="0" anchor="b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133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Headshot goes here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133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1.5” x 1.5”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3172417" y="2720105"/>
            <a:ext cx="1824567" cy="1824567"/>
          </a:xfrm>
          <a:prstGeom prst="rect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40" bIns="243840" rtlCol="0" anchor="b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133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Headshot goes here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133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1.5” x 1.5”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6091109" y="2720105"/>
            <a:ext cx="1824567" cy="1824567"/>
          </a:xfrm>
          <a:prstGeom prst="rect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40" bIns="243840" rtlCol="0" anchor="b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133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Headshot goes here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133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1.5” x 1.5”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8991327" y="2720105"/>
            <a:ext cx="1824567" cy="1824567"/>
          </a:xfrm>
          <a:prstGeom prst="rect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40" bIns="243840" rtlCol="0" anchor="b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133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Headshot goes here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133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1.5” x 1.5”</a:t>
            </a:r>
          </a:p>
        </p:txBody>
      </p:sp>
    </p:spTree>
    <p:extLst>
      <p:ext uri="{BB962C8B-B14F-4D97-AF65-F5344CB8AC3E}">
        <p14:creationId xmlns:p14="http://schemas.microsoft.com/office/powerpoint/2010/main" val="306051549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_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Text Placeholder 33"/>
          <p:cNvSpPr>
            <a:spLocks noGrp="1"/>
          </p:cNvSpPr>
          <p:nvPr>
            <p:ph type="body" sz="quarter" idx="11"/>
          </p:nvPr>
        </p:nvSpPr>
        <p:spPr>
          <a:xfrm>
            <a:off x="314027" y="4140203"/>
            <a:ext cx="3140375" cy="1722972"/>
          </a:xfrm>
        </p:spPr>
        <p:txBody>
          <a:bodyPr anchor="t" anchorCtr="0"/>
          <a:lstStyle>
            <a:lvl1pPr>
              <a:spcBef>
                <a:spcPts val="267"/>
              </a:spcBef>
              <a:spcAft>
                <a:spcPts val="133"/>
              </a:spcAft>
              <a:defRPr sz="1867">
                <a:solidFill>
                  <a:schemeClr val="tx1"/>
                </a:solidFill>
              </a:defRPr>
            </a:lvl1pPr>
            <a:lvl2pPr>
              <a:spcBef>
                <a:spcPts val="533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36"/>
          <p:cNvSpPr>
            <a:spLocks noGrp="1"/>
          </p:cNvSpPr>
          <p:nvPr>
            <p:ph type="body" sz="quarter" idx="18" hasCustomPrompt="1"/>
          </p:nvPr>
        </p:nvSpPr>
        <p:spPr>
          <a:xfrm>
            <a:off x="327613" y="3451274"/>
            <a:ext cx="3126787" cy="384129"/>
          </a:xfrm>
        </p:spPr>
        <p:txBody>
          <a:bodyPr anchor="t" anchorCtr="0">
            <a:noAutofit/>
          </a:bodyPr>
          <a:lstStyle>
            <a:lvl1pPr>
              <a:lnSpc>
                <a:spcPts val="2400"/>
              </a:lnSpc>
              <a:defRPr sz="24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3962400" y="1371604"/>
            <a:ext cx="7924800" cy="4492781"/>
          </a:xfrm>
        </p:spPr>
        <p:txBody>
          <a:bodyPr/>
          <a:lstStyle>
            <a:lvl1pPr>
              <a:lnSpc>
                <a:spcPts val="5333"/>
              </a:lnSpc>
              <a:defRPr sz="5333" b="1" cap="all" baseline="0">
                <a:solidFill>
                  <a:schemeClr val="bg1"/>
                </a:solidFill>
                <a:latin typeface="Arial" charset="0"/>
              </a:defRPr>
            </a:lvl1pPr>
            <a:lvl2pPr>
              <a:lnSpc>
                <a:spcPts val="1733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Click to edit master title style</a:t>
            </a:r>
          </a:p>
          <a:p>
            <a:pPr lvl="1"/>
            <a:r>
              <a:rPr lang="de-DE" dirty="0"/>
              <a:t>Second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327617" y="1371603"/>
            <a:ext cx="1824567" cy="1824567"/>
          </a:xfrm>
          <a:prstGeom prst="rect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40" bIns="243840" rtlCol="0" anchor="b" anchorCtr="0"/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133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Headshot goes here</a:t>
            </a:r>
          </a:p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133" b="0" i="0" u="none" baseline="0" dirty="0">
                <a:solidFill>
                  <a:srgbClr val="FFFFFF"/>
                </a:solidFill>
                <a:latin typeface="Arial" panose="020B0604020202020204" pitchFamily="34" charset="0"/>
              </a:rPr>
              <a:t>1.5” x 1.5”</a:t>
            </a:r>
          </a:p>
        </p:txBody>
      </p:sp>
    </p:spTree>
    <p:extLst>
      <p:ext uri="{BB962C8B-B14F-4D97-AF65-F5344CB8AC3E}">
        <p14:creationId xmlns:p14="http://schemas.microsoft.com/office/powerpoint/2010/main" val="203772449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 hidden="1"/>
          <p:cNvSpPr>
            <a:spLocks noGrp="1"/>
          </p:cNvSpPr>
          <p:nvPr>
            <p:ph type="ftr" sz="quarter" idx="10"/>
          </p:nvPr>
        </p:nvSpPr>
        <p:spPr>
          <a:xfrm>
            <a:off x="307977" y="5867402"/>
            <a:ext cx="11579225" cy="4829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note first level style</a:t>
            </a:r>
          </a:p>
          <a:p>
            <a:pPr marL="119994" indent="-119994">
              <a:lnSpc>
                <a:spcPts val="1200"/>
              </a:lnSpc>
              <a:spcBef>
                <a:spcPts val="400"/>
              </a:spcBef>
              <a:buFont typeface="+mj-lt"/>
              <a:buAutoNum type="arabicPeriod"/>
            </a:pPr>
            <a:r>
              <a:rPr lang="en-US"/>
              <a:t>Footnote second level styl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" y="1621024"/>
            <a:ext cx="11582400" cy="1937787"/>
          </a:xfrm>
        </p:spPr>
        <p:txBody>
          <a:bodyPr anchor="b"/>
          <a:lstStyle>
            <a:lvl1pPr algn="l">
              <a:lnSpc>
                <a:spcPts val="6000"/>
              </a:lnSpc>
              <a:defRPr sz="5333"/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3617861"/>
            <a:ext cx="11582400" cy="672467"/>
          </a:xfrm>
        </p:spPr>
        <p:txBody>
          <a:bodyPr/>
          <a:lstStyle>
            <a:lvl1pPr marL="0" indent="0" algn="l">
              <a:buNone/>
              <a:defRPr sz="2400" b="0" cap="none" baseline="0">
                <a:solidFill>
                  <a:schemeClr val="tx2"/>
                </a:solidFill>
              </a:defRPr>
            </a:lvl1pPr>
            <a:lvl2pPr marL="609570" indent="0" algn="ctr">
              <a:buNone/>
              <a:defRPr sz="2667"/>
            </a:lvl2pPr>
            <a:lvl3pPr marL="1219140" indent="0" algn="ctr">
              <a:buNone/>
              <a:defRPr sz="2400"/>
            </a:lvl3pPr>
            <a:lvl4pPr marL="1828709" indent="0" algn="ctr">
              <a:buNone/>
              <a:defRPr sz="2133"/>
            </a:lvl4pPr>
            <a:lvl5pPr marL="2438278" indent="0" algn="ctr">
              <a:buNone/>
              <a:defRPr sz="2133"/>
            </a:lvl5pPr>
            <a:lvl6pPr marL="3047848" indent="0" algn="ctr">
              <a:buNone/>
              <a:defRPr sz="2133"/>
            </a:lvl6pPr>
            <a:lvl7pPr marL="3657418" indent="0" algn="ctr">
              <a:buNone/>
              <a:defRPr sz="2133"/>
            </a:lvl7pPr>
            <a:lvl8pPr marL="4266987" indent="0" algn="ctr">
              <a:buNone/>
              <a:defRPr sz="2133"/>
            </a:lvl8pPr>
            <a:lvl9pPr marL="4876557" indent="0" algn="ctr">
              <a:buNone/>
              <a:defRPr sz="2133"/>
            </a:lvl9pPr>
          </a:lstStyle>
          <a:p>
            <a:r>
              <a:rPr lang="en-US" dirty="0"/>
              <a:t>Click to edit master subtitle style</a:t>
            </a:r>
            <a:endParaRPr lang="de-DE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7227321" y="3617860"/>
            <a:ext cx="4659881" cy="347877"/>
          </a:xfrm>
        </p:spPr>
        <p:txBody>
          <a:bodyPr tIns="54000"/>
          <a:lstStyle>
            <a:lvl1pPr algn="r">
              <a:defRPr sz="1733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" y="0"/>
            <a:ext cx="1600640" cy="1402080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11" name="Text Placeholder 16"/>
          <p:cNvSpPr>
            <a:spLocks noGrp="1"/>
          </p:cNvSpPr>
          <p:nvPr>
            <p:ph type="body" sz="quarter" idx="18"/>
          </p:nvPr>
        </p:nvSpPr>
        <p:spPr>
          <a:xfrm>
            <a:off x="304802" y="5867402"/>
            <a:ext cx="11578164" cy="480484"/>
          </a:xfrm>
        </p:spPr>
        <p:txBody>
          <a:bodyPr anchor="b" anchorCtr="0"/>
          <a:lstStyle>
            <a:lvl1pPr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defRPr>
            </a:lvl1pPr>
            <a:lvl2pPr marL="121914" indent="-121914">
              <a:lnSpc>
                <a:spcPts val="1200"/>
              </a:lnSpc>
              <a:spcBef>
                <a:spcPts val="533"/>
              </a:spcBef>
              <a:spcAft>
                <a:spcPts val="0"/>
              </a:spcAft>
              <a:buClr>
                <a:schemeClr val="bg1"/>
              </a:buClr>
              <a:buFont typeface="+mj-lt"/>
              <a:buAutoNum type="arabicPeriod"/>
              <a:defRPr sz="1200" b="0" cap="none" baseline="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defRPr>
            </a:lvl2pPr>
            <a:lvl3pPr>
              <a:defRPr sz="120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3pPr>
            <a:lvl4pPr>
              <a:defRPr sz="120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4pPr>
            <a:lvl5pPr>
              <a:defRPr sz="1200">
                <a:solidFill>
                  <a:schemeClr val="tx1"/>
                </a:solidFill>
                <a:latin typeface="Arial Narrow" charset="0"/>
                <a:ea typeface="Arial Narrow" charset="0"/>
                <a:cs typeface="Arial Narrow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 </a:t>
            </a:r>
          </a:p>
        </p:txBody>
      </p:sp>
    </p:spTree>
    <p:extLst>
      <p:ext uri="{BB962C8B-B14F-4D97-AF65-F5344CB8AC3E}">
        <p14:creationId xmlns:p14="http://schemas.microsoft.com/office/powerpoint/2010/main" val="18819047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377" y="298453"/>
            <a:ext cx="11553825" cy="1325563"/>
          </a:xfrm>
        </p:spPr>
        <p:txBody>
          <a:bodyPr/>
          <a:lstStyle>
            <a:lvl1pPr>
              <a:defRPr>
                <a:solidFill>
                  <a:srgbClr val="003B7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3377" y="1758949"/>
            <a:ext cx="11553825" cy="4351339"/>
          </a:xfrm>
        </p:spPr>
        <p:txBody>
          <a:bodyPr/>
          <a:lstStyle>
            <a:lvl1pPr>
              <a:buClr>
                <a:srgbClr val="799900"/>
              </a:buClr>
              <a:defRPr/>
            </a:lvl1pPr>
            <a:lvl2pPr>
              <a:buClr>
                <a:srgbClr val="799900"/>
              </a:buClr>
              <a:defRPr/>
            </a:lvl2pPr>
            <a:lvl3pPr>
              <a:buClr>
                <a:srgbClr val="799900"/>
              </a:buClr>
              <a:defRPr/>
            </a:lvl3pPr>
            <a:lvl4pPr>
              <a:buClr>
                <a:srgbClr val="799900"/>
              </a:buClr>
              <a:defRPr/>
            </a:lvl4pPr>
            <a:lvl5pPr>
              <a:buClr>
                <a:srgbClr val="799900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131237" y="6294439"/>
            <a:ext cx="6182481" cy="457200"/>
          </a:xfrm>
        </p:spPr>
        <p:txBody>
          <a:bodyPr anchor="ctr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LOGO HERE</a:t>
            </a:r>
            <a:br>
              <a:rPr lang="en-US" dirty="0"/>
            </a:br>
            <a:r>
              <a:rPr lang="en-US" dirty="0"/>
              <a:t>(Please use white logo with no background, if possible)</a:t>
            </a:r>
          </a:p>
        </p:txBody>
      </p:sp>
    </p:spTree>
    <p:extLst>
      <p:ext uri="{BB962C8B-B14F-4D97-AF65-F5344CB8AC3E}">
        <p14:creationId xmlns:p14="http://schemas.microsoft.com/office/powerpoint/2010/main" val="140025581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7F5AFA-D429-4858-92A4-932DC6667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9C4C860-828C-482B-83CA-FD1F39C0735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0318" y="1757239"/>
            <a:ext cx="5253564" cy="44324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F4E240-142A-4D4A-A82E-EDCEA18A92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3FCEFB-3FFE-4921-BD3B-D43EF374E48F}" type="datetimeFigureOut">
              <a:rPr lang="en-US" smtClean="0"/>
              <a:t>12/3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2E84E6-8D6F-4BD0-8B74-EFBAAD2C22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BFD8584-A54F-404F-A77E-CD34D12B6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73CFA6-3983-4A4C-90E3-1A05E8A8D369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592B573-F8EB-4F90-AB5F-9FD152CFED59}"/>
              </a:ext>
            </a:extLst>
          </p:cNvPr>
          <p:cNvSpPr/>
          <p:nvPr/>
        </p:nvSpPr>
        <p:spPr>
          <a:xfrm>
            <a:off x="6096001" y="1"/>
            <a:ext cx="5257799" cy="615394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B5EBE37-8D7D-446A-B176-94F3DAF912B6}"/>
              </a:ext>
            </a:extLst>
          </p:cNvPr>
          <p:cNvSpPr/>
          <p:nvPr/>
        </p:nvSpPr>
        <p:spPr>
          <a:xfrm>
            <a:off x="0" y="1578770"/>
            <a:ext cx="12203927" cy="1784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96883053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-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esentation title">
            <a:extLst>
              <a:ext uri="{FF2B5EF4-FFF2-40B4-BE49-F238E27FC236}">
                <a16:creationId xmlns:a16="http://schemas.microsoft.com/office/drawing/2014/main" id="{C8A38BA2-F1A3-D44C-97C6-9C453D5050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" y="2880360"/>
            <a:ext cx="11582400" cy="830997"/>
          </a:xfrm>
        </p:spPr>
        <p:txBody>
          <a:bodyPr>
            <a:spAutoFit/>
          </a:bodyPr>
          <a:lstStyle>
            <a:lvl1pPr>
              <a:lnSpc>
                <a:spcPct val="87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04B1E7F7-EFC6-CD44-AA19-B41F7657D7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Subtitle or name of presenter">
            <a:extLst>
              <a:ext uri="{FF2B5EF4-FFF2-40B4-BE49-F238E27FC236}">
                <a16:creationId xmlns:a16="http://schemas.microsoft.com/office/drawing/2014/main" id="{DBFA04A7-365B-334F-AF7E-F9202BC433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4" y="3892892"/>
            <a:ext cx="7760580" cy="307776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Date placeholder">
            <a:extLst>
              <a:ext uri="{FF2B5EF4-FFF2-40B4-BE49-F238E27FC236}">
                <a16:creationId xmlns:a16="http://schemas.microsoft.com/office/drawing/2014/main" id="{23946FD1-793E-6A45-9987-8443E3E102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71467" y="3939057"/>
            <a:ext cx="3712687" cy="261611"/>
          </a:xfrm>
        </p:spPr>
        <p:txBody>
          <a:bodyPr wrap="square" anchor="b">
            <a:spAutoFit/>
          </a:bodyPr>
          <a:lstStyle>
            <a:lvl1pPr algn="r">
              <a:defRPr sz="1700" b="1" cap="all" baseline="0">
                <a:solidFill>
                  <a:schemeClr val="accent4"/>
                </a:solidFill>
              </a:defRPr>
            </a:lvl1pPr>
            <a:lvl2pPr algn="r"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FS-logo">
            <a:extLst>
              <a:ext uri="{FF2B5EF4-FFF2-40B4-BE49-F238E27FC236}">
                <a16:creationId xmlns:a16="http://schemas.microsoft.com/office/drawing/2014/main" id="{C889D9D3-0468-1049-81C8-A6D513A7426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812275" cy="16002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8226615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28BE79BD-79B9-3F46-A895-F988891529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One-column placeholder">
            <a:extLst>
              <a:ext uri="{FF2B5EF4-FFF2-40B4-BE49-F238E27FC236}">
                <a16:creationId xmlns:a16="http://schemas.microsoft.com/office/drawing/2014/main" id="{4AC2727B-E6D9-134E-8ADF-A4826675688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01755" y="1280160"/>
            <a:ext cx="11585575" cy="4572000"/>
          </a:xfrm>
        </p:spPr>
        <p:txBody>
          <a:bodyPr/>
          <a:lstStyle>
            <a:lvl2pPr>
              <a:lnSpc>
                <a:spcPct val="92000"/>
              </a:lnSpc>
              <a:spcBef>
                <a:spcPts val="400"/>
              </a:spcBef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notes or source">
            <a:extLst>
              <a:ext uri="{FF2B5EF4-FFF2-40B4-BE49-F238E27FC236}">
                <a16:creationId xmlns:a16="http://schemas.microsoft.com/office/drawing/2014/main" id="{AEBE4842-989F-3F4A-BD20-AF5820F397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6" indent="-118866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72C22BEF-E9EC-3247-9181-5C9177B2B4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682634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-column-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ne-column subhead">
            <a:extLst>
              <a:ext uri="{FF2B5EF4-FFF2-40B4-BE49-F238E27FC236}">
                <a16:creationId xmlns:a16="http://schemas.microsoft.com/office/drawing/2014/main" id="{7F98CD30-9A2E-4A49-8E01-F156C7C0A5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2" y="1280160"/>
            <a:ext cx="11585448" cy="365760"/>
          </a:xfrm>
        </p:spPr>
        <p:txBody>
          <a:bodyPr wrap="square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D8D15E5A-6B9F-2E48-A8F2-A35E85136B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One-column placeholder">
            <a:extLst>
              <a:ext uri="{FF2B5EF4-FFF2-40B4-BE49-F238E27FC236}">
                <a16:creationId xmlns:a16="http://schemas.microsoft.com/office/drawing/2014/main" id="{C3021731-334E-CD47-A48A-2F96680C778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01752" y="1737360"/>
            <a:ext cx="11585448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notes or source">
            <a:extLst>
              <a:ext uri="{FF2B5EF4-FFF2-40B4-BE49-F238E27FC236}">
                <a16:creationId xmlns:a16="http://schemas.microsoft.com/office/drawing/2014/main" id="{B79268D5-FDCB-6B45-B4D0-20E01F75F1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6" indent="-118866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36005B27-94D6-6D4B-B596-B49DEBB6BA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0596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28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0FB2CE31-8DD1-4841-9581-CEAA9A9BA5F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Right content placeholder">
            <a:extLst>
              <a:ext uri="{FF2B5EF4-FFF2-40B4-BE49-F238E27FC236}">
                <a16:creationId xmlns:a16="http://schemas.microsoft.com/office/drawing/2014/main" id="{BEBDBBE3-07B1-DD46-8A84-1F365037F7A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01752" y="1280160"/>
            <a:ext cx="57150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Left content placeholder">
            <a:extLst>
              <a:ext uri="{FF2B5EF4-FFF2-40B4-BE49-F238E27FC236}">
                <a16:creationId xmlns:a16="http://schemas.microsoft.com/office/drawing/2014/main" id="{162772BE-D1F5-564F-A0E5-4433C1889B4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72200" y="1280160"/>
            <a:ext cx="57150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notes or source">
            <a:extLst>
              <a:ext uri="{FF2B5EF4-FFF2-40B4-BE49-F238E27FC236}">
                <a16:creationId xmlns:a16="http://schemas.microsoft.com/office/drawing/2014/main" id="{9B1839EE-C6EC-E040-88D5-F9875A7338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6" indent="-118866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74A33FDE-63DB-E246-96BF-9458DB6F07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269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8">
          <p15:clr>
            <a:srgbClr val="FBAE40"/>
          </p15:clr>
        </p15:guide>
        <p15:guide id="2" pos="3792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-column-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>
            <a:extLst>
              <a:ext uri="{FF2B5EF4-FFF2-40B4-BE49-F238E27FC236}">
                <a16:creationId xmlns:a16="http://schemas.microsoft.com/office/drawing/2014/main" id="{3B8F69B0-2DC7-F54B-8D92-29AA818936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Left content placeholder">
            <a:extLst>
              <a:ext uri="{FF2B5EF4-FFF2-40B4-BE49-F238E27FC236}">
                <a16:creationId xmlns:a16="http://schemas.microsoft.com/office/drawing/2014/main" id="{C214F381-465F-8E4A-8D89-8AE3BFA8A55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72200" y="1737360"/>
            <a:ext cx="5715000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Right content placeholder">
            <a:extLst>
              <a:ext uri="{FF2B5EF4-FFF2-40B4-BE49-F238E27FC236}">
                <a16:creationId xmlns:a16="http://schemas.microsoft.com/office/drawing/2014/main" id="{871737ED-DD0A-C04D-A12B-F34BC71D1B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01754" y="1737360"/>
            <a:ext cx="5711825" cy="404164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notes or source">
            <a:extLst>
              <a:ext uri="{FF2B5EF4-FFF2-40B4-BE49-F238E27FC236}">
                <a16:creationId xmlns:a16="http://schemas.microsoft.com/office/drawing/2014/main" id="{C393E3FC-DE49-C442-BFAE-6022D06DA2D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0" y="5943600"/>
            <a:ext cx="11582400" cy="530709"/>
          </a:xfrm>
        </p:spPr>
        <p:txBody>
          <a:bodyPr anchor="b"/>
          <a:lstStyle>
            <a:lvl1pPr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defRPr lang="en-US" sz="900" b="0" i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  <a:lvl2pPr marL="118866" indent="-118866">
              <a:lnSpc>
                <a:spcPct val="95000"/>
              </a:lnSpc>
              <a:spcBef>
                <a:spcPts val="0"/>
              </a:spcBef>
              <a:spcAft>
                <a:spcPts val="100"/>
              </a:spcAft>
              <a:buClr>
                <a:schemeClr val="bg1"/>
              </a:buClr>
              <a:buFont typeface="+mj-lt"/>
              <a:buAutoNum type="arabicPeriod"/>
              <a:defRPr lang="en-US" sz="900" b="0" i="0" cap="none" baseline="0" dirty="0" smtClean="0">
                <a:solidFill>
                  <a:schemeClr val="bg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2pPr>
            <a:lvl3pPr>
              <a:lnSpc>
                <a:spcPct val="100000"/>
              </a:lnSpc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3pPr>
            <a:lvl4pPr marL="0" indent="0">
              <a:lnSpc>
                <a:spcPct val="100000"/>
              </a:lnSpc>
              <a:buNone/>
              <a:defRPr lang="en-US" sz="1000" b="0" i="0" dirty="0" smtClean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4pPr>
            <a:lvl5pPr marL="11113" indent="0">
              <a:lnSpc>
                <a:spcPct val="100000"/>
              </a:lnSpc>
              <a:buNone/>
              <a:tabLst/>
              <a:defRPr lang="en-US" sz="1000" b="0" i="0" dirty="0">
                <a:solidFill>
                  <a:schemeClr val="tx1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5pPr>
            <a:lvl6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6pPr>
            <a:lvl7pPr>
              <a:defRPr sz="1000" b="0" i="0">
                <a:latin typeface="Arial Narrow" panose="020B0604020202020204" pitchFamily="34" charset="0"/>
                <a:cs typeface="Arial Narrow" panose="020B0604020202020204" pitchFamily="34" charset="0"/>
              </a:defRPr>
            </a:lvl7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Left subhead">
            <a:extLst>
              <a:ext uri="{FF2B5EF4-FFF2-40B4-BE49-F238E27FC236}">
                <a16:creationId xmlns:a16="http://schemas.microsoft.com/office/drawing/2014/main" id="{0D694C0C-C640-AA44-8A0B-13D281A27F73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304800" y="1280160"/>
            <a:ext cx="5715000" cy="365760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Right subhead">
            <a:extLst>
              <a:ext uri="{FF2B5EF4-FFF2-40B4-BE49-F238E27FC236}">
                <a16:creationId xmlns:a16="http://schemas.microsoft.com/office/drawing/2014/main" id="{A84D9522-E9B4-BE46-8B38-EC5855EA807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72200" y="1280160"/>
            <a:ext cx="5715000" cy="365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D67ED532-92A1-124C-BB7A-A63781F60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338521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3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68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tags" Target="../tags/tag8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tags" Target="../tags/tag7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18" Type="http://schemas.openxmlformats.org/officeDocument/2006/relationships/slideLayout" Target="../slideLayouts/slideLayout86.xml"/><Relationship Id="rId26" Type="http://schemas.openxmlformats.org/officeDocument/2006/relationships/slideLayout" Target="../slideLayouts/slideLayout94.xml"/><Relationship Id="rId3" Type="http://schemas.openxmlformats.org/officeDocument/2006/relationships/slideLayout" Target="../slideLayouts/slideLayout71.xml"/><Relationship Id="rId21" Type="http://schemas.openxmlformats.org/officeDocument/2006/relationships/slideLayout" Target="../slideLayouts/slideLayout89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slideLayout" Target="../slideLayouts/slideLayout85.xml"/><Relationship Id="rId25" Type="http://schemas.openxmlformats.org/officeDocument/2006/relationships/slideLayout" Target="../slideLayouts/slideLayout93.xml"/><Relationship Id="rId2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84.xml"/><Relationship Id="rId20" Type="http://schemas.openxmlformats.org/officeDocument/2006/relationships/slideLayout" Target="../slideLayouts/slideLayout88.xml"/><Relationship Id="rId29" Type="http://schemas.openxmlformats.org/officeDocument/2006/relationships/tags" Target="../tags/tag18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24" Type="http://schemas.openxmlformats.org/officeDocument/2006/relationships/slideLayout" Target="../slideLayouts/slideLayout92.xml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23" Type="http://schemas.openxmlformats.org/officeDocument/2006/relationships/slideLayout" Target="../slideLayouts/slideLayout91.xml"/><Relationship Id="rId28" Type="http://schemas.openxmlformats.org/officeDocument/2006/relationships/tags" Target="../tags/tag17.xml"/><Relationship Id="rId10" Type="http://schemas.openxmlformats.org/officeDocument/2006/relationships/slideLayout" Target="../slideLayouts/slideLayout78.xml"/><Relationship Id="rId19" Type="http://schemas.openxmlformats.org/officeDocument/2006/relationships/slideLayout" Target="../slideLayouts/slideLayout87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Relationship Id="rId22" Type="http://schemas.openxmlformats.org/officeDocument/2006/relationships/slideLayout" Target="../slideLayouts/slideLayout90.xml"/><Relationship Id="rId27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slideLayout" Target="../slideLayouts/slideLayout107.xml"/><Relationship Id="rId18" Type="http://schemas.openxmlformats.org/officeDocument/2006/relationships/tags" Target="../tags/tag39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tags" Target="../tags/tag38.xml"/><Relationship Id="rId2" Type="http://schemas.openxmlformats.org/officeDocument/2006/relationships/slideLayout" Target="../slideLayouts/slideLayout96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slideLayout" Target="../slideLayouts/slideLayout122.xml"/><Relationship Id="rId18" Type="http://schemas.openxmlformats.org/officeDocument/2006/relationships/tags" Target="../tags/tag41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1.xml"/><Relationship Id="rId17" Type="http://schemas.openxmlformats.org/officeDocument/2006/relationships/tags" Target="../tags/tag40.xml"/><Relationship Id="rId2" Type="http://schemas.openxmlformats.org/officeDocument/2006/relationships/slideLayout" Target="../slideLayouts/slideLayout111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5" Type="http://schemas.openxmlformats.org/officeDocument/2006/relationships/slideLayout" Target="../slideLayouts/slideLayout124.xml"/><Relationship Id="rId10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slideLayout" Target="../slideLayouts/slideLayout1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mpower - DO NOT DELETE!!!"/>
          <p:cNvSpPr/>
          <p:nvPr>
            <p:custDataLst>
              <p:tags r:id="rId16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l"/>
            <a:endParaRPr lang="de-DE" sz="3200" dirty="0"/>
          </a:p>
        </p:txBody>
      </p:sp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>
          <a:xfrm>
            <a:off x="11199908" y="6511277"/>
            <a:ext cx="687293" cy="16415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3786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33" r:id="rId2"/>
    <p:sldLayoutId id="2147483801" r:id="rId3"/>
    <p:sldLayoutId id="2147483802" r:id="rId4"/>
    <p:sldLayoutId id="2147483803" r:id="rId5"/>
    <p:sldLayoutId id="2147483834" r:id="rId6"/>
    <p:sldLayoutId id="2147483804" r:id="rId7"/>
    <p:sldLayoutId id="2147483835" r:id="rId8"/>
    <p:sldLayoutId id="2147483805" r:id="rId9"/>
    <p:sldLayoutId id="2147483814" r:id="rId10"/>
    <p:sldLayoutId id="2147483807" r:id="rId11"/>
    <p:sldLayoutId id="2147483808" r:id="rId12"/>
    <p:sldLayoutId id="2147483812" r:id="rId13"/>
    <p:sldLayoutId id="2147483951" r:id="rId14"/>
  </p:sldLayoutIdLst>
  <p:hf hdr="0" dt="0"/>
  <p:txStyles>
    <p:titleStyle>
      <a:lvl1pPr algn="l" defTabSz="609555" rtl="0" eaLnBrk="1" latinLnBrk="0" hangingPunct="1">
        <a:lnSpc>
          <a:spcPts val="3200"/>
        </a:lnSpc>
        <a:spcBef>
          <a:spcPct val="0"/>
        </a:spcBef>
        <a:buNone/>
        <a:defRPr sz="3000" b="1" i="0" kern="1200" cap="none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609555" rtl="0" eaLnBrk="1" latinLnBrk="0" hangingPunct="1">
        <a:spcBef>
          <a:spcPts val="1000"/>
        </a:spcBef>
        <a:spcAft>
          <a:spcPts val="300"/>
        </a:spcAft>
        <a:buFont typeface="Arial"/>
        <a:buNone/>
        <a:defRPr sz="2400" b="0" kern="1200" cap="none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609555" rtl="0" eaLnBrk="1" latinLnBrk="0" hangingPunct="1">
        <a:lnSpc>
          <a:spcPct val="92000"/>
        </a:lnSpc>
        <a:spcBef>
          <a:spcPts val="400"/>
        </a:spcBef>
        <a:spcAft>
          <a:spcPts val="300"/>
        </a:spcAft>
        <a:buClr>
          <a:schemeClr val="tx2"/>
        </a:buClr>
        <a:buFontTx/>
        <a:buNone/>
        <a:defRPr sz="1400" b="1" kern="1200" cap="all" baseline="0">
          <a:solidFill>
            <a:schemeClr val="accent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0" indent="0" algn="l" defTabSz="609555" rtl="0" eaLnBrk="1" latinLnBrk="0" hangingPunct="1">
        <a:spcBef>
          <a:spcPts val="0"/>
        </a:spcBef>
        <a:spcAft>
          <a:spcPts val="500"/>
        </a:spcAft>
        <a:buClr>
          <a:schemeClr val="tx2"/>
        </a:buClr>
        <a:buFont typeface="Lucida Grande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24356" indent="-224356" algn="l" defTabSz="609555" rtl="0" eaLnBrk="1" latinLnBrk="0" hangingPunct="1">
        <a:spcBef>
          <a:spcPts val="0"/>
        </a:spcBef>
        <a:spcAft>
          <a:spcPts val="500"/>
        </a:spcAft>
        <a:buClr>
          <a:schemeClr val="tx2"/>
        </a:buClr>
        <a:buFont typeface="LucidaGrande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365734" indent="-182866" algn="l" defTabSz="609555" rtl="0" eaLnBrk="1" latinLnBrk="0" hangingPunct="1">
        <a:spcBef>
          <a:spcPts val="0"/>
        </a:spcBef>
        <a:spcAft>
          <a:spcPts val="500"/>
        </a:spcAft>
        <a:buClr>
          <a:schemeClr val="tx1">
            <a:lumMod val="50000"/>
            <a:lumOff val="50000"/>
          </a:schemeClr>
        </a:buClr>
        <a:buFont typeface=".HelveticaNeueDeskInterface-Regular" charset="-120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0" indent="0" algn="l" defTabSz="609555" rtl="0" eaLnBrk="1" latinLnBrk="0" hangingPunct="1">
        <a:spcBef>
          <a:spcPts val="0"/>
        </a:spcBef>
        <a:spcAft>
          <a:spcPts val="300"/>
        </a:spcAft>
        <a:buFontTx/>
        <a:buNone/>
        <a:defRPr sz="160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6pPr>
      <a:lvl7pPr marL="6351" indent="0" algn="l" defTabSz="609555" rtl="0" eaLnBrk="1" latinLnBrk="0" hangingPunct="1">
        <a:spcBef>
          <a:spcPts val="0"/>
        </a:spcBef>
        <a:spcAft>
          <a:spcPts val="267"/>
        </a:spcAft>
        <a:buFont typeface="Arial"/>
        <a:buNone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6351" indent="0" algn="l" defTabSz="609555" rtl="0" eaLnBrk="1" latinLnBrk="0" hangingPunct="1">
        <a:spcBef>
          <a:spcPts val="0"/>
        </a:spcBef>
        <a:spcAft>
          <a:spcPts val="200"/>
        </a:spcAft>
        <a:buFont typeface="Arial"/>
        <a:buNone/>
        <a:tabLst/>
        <a:defRPr sz="1000" b="0" i="0" kern="1200">
          <a:solidFill>
            <a:schemeClr val="tx1"/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8pPr>
      <a:lvl9pPr marL="137160" indent="-137160" algn="l" defTabSz="609555" rtl="0" eaLnBrk="1" latinLnBrk="0" hangingPunct="1">
        <a:spcBef>
          <a:spcPts val="0"/>
        </a:spcBef>
        <a:spcAft>
          <a:spcPts val="200"/>
        </a:spcAft>
        <a:buFont typeface="+mj-lt"/>
        <a:buAutoNum type="arabicPeriod"/>
        <a:tabLst/>
        <a:defRPr sz="1000" b="0" i="0" kern="1200">
          <a:solidFill>
            <a:schemeClr val="tx1"/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9pPr>
    </p:bodyStyle>
    <p:otherStyle>
      <a:defPPr>
        <a:defRPr lang="en-US"/>
      </a:defPPr>
      <a:lvl1pPr marL="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">
          <p15:clr>
            <a:srgbClr val="F26B43"/>
          </p15:clr>
        </p15:guide>
        <p15:guide id="2" pos="7488">
          <p15:clr>
            <a:srgbClr val="F26B43"/>
          </p15:clr>
        </p15:guide>
        <p15:guide id="4" orient="horz" pos="4032">
          <p15:clr>
            <a:srgbClr val="F26B43"/>
          </p15:clr>
        </p15:guide>
        <p15:guide id="6" pos="192">
          <p15:clr>
            <a:srgbClr val="F26B43"/>
          </p15:clr>
        </p15:guide>
        <p15:guide id="7" orient="horz" pos="76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title placeholder"/>
          <p:cNvSpPr>
            <a:spLocks noGrp="1"/>
          </p:cNvSpPr>
          <p:nvPr>
            <p:ph type="title"/>
          </p:nvPr>
        </p:nvSpPr>
        <p:spPr>
          <a:xfrm>
            <a:off x="304800" y="304800"/>
            <a:ext cx="11582400" cy="82905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1752" y="1280160"/>
            <a:ext cx="11582400" cy="45885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sp>
        <p:nvSpPr>
          <p:cNvPr id="4" name="empower - DO NOT DELETE!!!"/>
          <p:cNvSpPr/>
          <p:nvPr>
            <p:custDataLst>
              <p:tags r:id="rId1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l"/>
            <a:endParaRPr lang="de-DE" sz="3200" dirty="0"/>
          </a:p>
        </p:txBody>
      </p:sp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>
          <a:xfrm>
            <a:off x="11199908" y="6511277"/>
            <a:ext cx="687293" cy="16415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Footer -- Edit in Master Layout"/>
          <p:cNvSpPr/>
          <p:nvPr>
            <p:custDataLst>
              <p:tags r:id="rId19"/>
            </p:custDataLst>
          </p:nvPr>
        </p:nvSpPr>
        <p:spPr>
          <a:xfrm>
            <a:off x="304803" y="6477004"/>
            <a:ext cx="10972799" cy="198424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r>
              <a:rPr lang="en-US" sz="1000" kern="1200" dirty="0">
                <a:solidFill>
                  <a:schemeClr val="tx1"/>
                </a:solidFill>
                <a:latin typeface="Arial Narrow"/>
                <a:ea typeface="+mn-ea"/>
                <a:cs typeface="Arial Narrow"/>
              </a:rPr>
              <a:t>CONFIDENTIAL. FOR ADVISOR USE ONLY. NOT FOR INVESTOR USE. </a:t>
            </a:r>
          </a:p>
        </p:txBody>
      </p:sp>
    </p:spTree>
    <p:extLst>
      <p:ext uri="{BB962C8B-B14F-4D97-AF65-F5344CB8AC3E}">
        <p14:creationId xmlns:p14="http://schemas.microsoft.com/office/powerpoint/2010/main" val="1118925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  <p:sldLayoutId id="2147483846" r:id="rId10"/>
    <p:sldLayoutId id="2147483847" r:id="rId11"/>
    <p:sldLayoutId id="2147483848" r:id="rId12"/>
    <p:sldLayoutId id="2147483849" r:id="rId13"/>
    <p:sldLayoutId id="2147483850" r:id="rId14"/>
    <p:sldLayoutId id="2147483851" r:id="rId15"/>
    <p:sldLayoutId id="2147483757" r:id="rId16"/>
  </p:sldLayoutIdLst>
  <p:hf hdr="0" dt="0"/>
  <p:txStyles>
    <p:titleStyle>
      <a:lvl1pPr algn="l" defTabSz="609555" rtl="0" eaLnBrk="1" latinLnBrk="0" hangingPunct="1">
        <a:lnSpc>
          <a:spcPts val="3300"/>
        </a:lnSpc>
        <a:spcBef>
          <a:spcPct val="0"/>
        </a:spcBef>
        <a:buNone/>
        <a:defRPr sz="3300" b="1" i="0" kern="1200" cap="none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609555" rtl="0" eaLnBrk="1" latinLnBrk="0" hangingPunct="1">
        <a:spcBef>
          <a:spcPts val="1000"/>
        </a:spcBef>
        <a:spcAft>
          <a:spcPts val="300"/>
        </a:spcAft>
        <a:buFont typeface="Arial"/>
        <a:buNone/>
        <a:defRPr sz="2000" b="0" kern="1200" cap="none" baseline="0">
          <a:solidFill>
            <a:schemeClr val="accent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609555" rtl="0" eaLnBrk="1" latinLnBrk="0" hangingPunct="1">
        <a:lnSpc>
          <a:spcPct val="92000"/>
        </a:lnSpc>
        <a:spcBef>
          <a:spcPts val="400"/>
        </a:spcBef>
        <a:spcAft>
          <a:spcPts val="300"/>
        </a:spcAft>
        <a:buClr>
          <a:schemeClr val="tx2"/>
        </a:buClr>
        <a:buFontTx/>
        <a:buNone/>
        <a:defRPr sz="1300" b="1" kern="1200" cap="all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0" indent="0" algn="l" defTabSz="609555" rtl="0" eaLnBrk="1" latinLnBrk="0" hangingPunct="1">
        <a:spcBef>
          <a:spcPts val="0"/>
        </a:spcBef>
        <a:spcAft>
          <a:spcPts val="500"/>
        </a:spcAft>
        <a:buClr>
          <a:schemeClr val="tx2"/>
        </a:buClr>
        <a:buFont typeface="Lucida Grande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82880" indent="-182880" algn="l" defTabSz="609555" rtl="0" eaLnBrk="1" latinLnBrk="0" hangingPunct="1">
        <a:spcBef>
          <a:spcPts val="0"/>
        </a:spcBef>
        <a:spcAft>
          <a:spcPts val="500"/>
        </a:spcAft>
        <a:buClr>
          <a:schemeClr val="bg1">
            <a:lumMod val="50000"/>
          </a:schemeClr>
        </a:buClr>
        <a:buSzPct val="90000"/>
        <a:buFont typeface="LucidaGrande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365734" indent="-182866" algn="l" defTabSz="609555" rtl="0" eaLnBrk="1" latinLnBrk="0" hangingPunct="1">
        <a:spcBef>
          <a:spcPts val="0"/>
        </a:spcBef>
        <a:spcAft>
          <a:spcPts val="500"/>
        </a:spcAft>
        <a:buClr>
          <a:schemeClr val="tx1">
            <a:lumMod val="50000"/>
            <a:lumOff val="50000"/>
          </a:schemeClr>
        </a:buClr>
        <a:buFont typeface=".HelveticaNeueDeskInterface-Regular" charset="-120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0" indent="0" algn="l" defTabSz="609555" rtl="0" eaLnBrk="1" latinLnBrk="0" hangingPunct="1">
        <a:spcBef>
          <a:spcPts val="0"/>
        </a:spcBef>
        <a:spcAft>
          <a:spcPts val="300"/>
        </a:spcAft>
        <a:buFontTx/>
        <a:buNone/>
        <a:defRPr sz="160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6pPr>
      <a:lvl7pPr marL="6351" indent="0" algn="l" defTabSz="609555" rtl="0" eaLnBrk="1" latinLnBrk="0" hangingPunct="1">
        <a:spcBef>
          <a:spcPts val="0"/>
        </a:spcBef>
        <a:spcAft>
          <a:spcPts val="267"/>
        </a:spcAft>
        <a:buFont typeface="Arial"/>
        <a:buNone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6351" indent="0" algn="l" defTabSz="609555" rtl="0" eaLnBrk="1" latinLnBrk="0" hangingPunct="1">
        <a:spcBef>
          <a:spcPts val="0"/>
        </a:spcBef>
        <a:spcAft>
          <a:spcPts val="200"/>
        </a:spcAft>
        <a:buFont typeface="Arial"/>
        <a:buNone/>
        <a:tabLst/>
        <a:defRPr sz="900" b="0" i="0" kern="1200">
          <a:solidFill>
            <a:schemeClr val="tx1"/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8pPr>
      <a:lvl9pPr marL="137160" indent="-137160" algn="l" defTabSz="609555" rtl="0" eaLnBrk="1" latinLnBrk="0" hangingPunct="1">
        <a:spcBef>
          <a:spcPts val="0"/>
        </a:spcBef>
        <a:spcAft>
          <a:spcPts val="200"/>
        </a:spcAft>
        <a:buFont typeface="+mj-lt"/>
        <a:buAutoNum type="arabicPeriod"/>
        <a:tabLst/>
        <a:defRPr sz="900" b="0" i="0" kern="1200">
          <a:solidFill>
            <a:schemeClr val="tx1"/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9pPr>
    </p:bodyStyle>
    <p:otherStyle>
      <a:defPPr>
        <a:defRPr lang="en-US"/>
      </a:defPPr>
      <a:lvl1pPr marL="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orient="horz" pos="192" userDrawn="1">
          <p15:clr>
            <a:srgbClr val="F26B43"/>
          </p15:clr>
        </p15:guide>
        <p15:guide id="9" pos="7488" userDrawn="1">
          <p15:clr>
            <a:srgbClr val="F26B43"/>
          </p15:clr>
        </p15:guide>
        <p15:guide id="10" orient="horz" pos="4032" userDrawn="1">
          <p15:clr>
            <a:srgbClr val="F26B43"/>
          </p15:clr>
        </p15:guide>
        <p15:guide id="11" pos="192" userDrawn="1">
          <p15:clr>
            <a:srgbClr val="F26B43"/>
          </p15:clr>
        </p15:guide>
        <p15:guide id="12" orient="horz" pos="76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title placeholder"/>
          <p:cNvSpPr>
            <a:spLocks noGrp="1"/>
          </p:cNvSpPr>
          <p:nvPr>
            <p:ph type="title"/>
          </p:nvPr>
        </p:nvSpPr>
        <p:spPr>
          <a:xfrm>
            <a:off x="304800" y="304800"/>
            <a:ext cx="11582400" cy="82905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1752" y="1280160"/>
            <a:ext cx="11582400" cy="45885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sp>
        <p:nvSpPr>
          <p:cNvPr id="4" name="empower - DO NOT DELETE!!!"/>
          <p:cNvSpPr/>
          <p:nvPr>
            <p:custDataLst>
              <p:tags r:id="rId19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l"/>
            <a:endParaRPr lang="de-DE" sz="3200" dirty="0"/>
          </a:p>
        </p:txBody>
      </p:sp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>
          <a:xfrm>
            <a:off x="11199908" y="6511277"/>
            <a:ext cx="687293" cy="16415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Footer -- Edit in Master Layout"/>
          <p:cNvSpPr/>
          <p:nvPr>
            <p:custDataLst>
              <p:tags r:id="rId20"/>
            </p:custDataLst>
          </p:nvPr>
        </p:nvSpPr>
        <p:spPr>
          <a:xfrm>
            <a:off x="304803" y="6477004"/>
            <a:ext cx="10972799" cy="198424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r>
              <a:rPr lang="en-US" sz="1000" kern="1200" dirty="0">
                <a:solidFill>
                  <a:schemeClr val="bg1"/>
                </a:solidFill>
                <a:latin typeface="Arial Narrow"/>
                <a:ea typeface="+mn-ea"/>
                <a:cs typeface="Arial Narrow"/>
              </a:rPr>
              <a:t>CONFIDENTIAL. FOR ADVISOR USE ONLY. NOT FOR INVESTOR USE. </a:t>
            </a:r>
          </a:p>
        </p:txBody>
      </p:sp>
    </p:spTree>
    <p:extLst>
      <p:ext uri="{BB962C8B-B14F-4D97-AF65-F5344CB8AC3E}">
        <p14:creationId xmlns:p14="http://schemas.microsoft.com/office/powerpoint/2010/main" val="3636948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  <p:sldLayoutId id="2147483864" r:id="rId12"/>
    <p:sldLayoutId id="2147483865" r:id="rId13"/>
    <p:sldLayoutId id="2147483866" r:id="rId14"/>
    <p:sldLayoutId id="2147483867" r:id="rId15"/>
    <p:sldLayoutId id="2147483952" r:id="rId16"/>
    <p:sldLayoutId id="2147483953" r:id="rId17"/>
  </p:sldLayoutIdLst>
  <p:hf hdr="0" dt="0"/>
  <p:txStyles>
    <p:titleStyle>
      <a:lvl1pPr algn="l" defTabSz="609555" rtl="0" eaLnBrk="1" latinLnBrk="0" hangingPunct="1">
        <a:lnSpc>
          <a:spcPts val="3200"/>
        </a:lnSpc>
        <a:spcBef>
          <a:spcPct val="0"/>
        </a:spcBef>
        <a:buNone/>
        <a:defRPr sz="3500" b="1" i="0" kern="1200" cap="none">
          <a:solidFill>
            <a:schemeClr val="bg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609555" rtl="0" eaLnBrk="1" latinLnBrk="0" hangingPunct="1">
        <a:spcBef>
          <a:spcPts val="1000"/>
        </a:spcBef>
        <a:spcAft>
          <a:spcPts val="300"/>
        </a:spcAft>
        <a:buFont typeface="Arial"/>
        <a:buNone/>
        <a:defRPr sz="2000" b="0" kern="1200" cap="none" baseline="0">
          <a:solidFill>
            <a:schemeClr val="accent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609555" rtl="0" eaLnBrk="1" latinLnBrk="0" hangingPunct="1">
        <a:lnSpc>
          <a:spcPct val="92000"/>
        </a:lnSpc>
        <a:spcBef>
          <a:spcPts val="400"/>
        </a:spcBef>
        <a:spcAft>
          <a:spcPts val="300"/>
        </a:spcAft>
        <a:buClr>
          <a:schemeClr val="tx2"/>
        </a:buClr>
        <a:buFontTx/>
        <a:buNone/>
        <a:defRPr sz="1300" b="1" kern="1200" cap="all" baseline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0" indent="0" algn="l" defTabSz="609555" rtl="0" eaLnBrk="1" latinLnBrk="0" hangingPunct="1">
        <a:spcBef>
          <a:spcPts val="0"/>
        </a:spcBef>
        <a:spcAft>
          <a:spcPts val="500"/>
        </a:spcAft>
        <a:buClr>
          <a:schemeClr val="tx2"/>
        </a:buClr>
        <a:buFont typeface="Lucida Grande"/>
        <a:buNone/>
        <a:defRPr sz="18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82880" indent="-182880" algn="l" defTabSz="609555" rtl="0" eaLnBrk="1" latinLnBrk="0" hangingPunct="1">
        <a:spcBef>
          <a:spcPts val="0"/>
        </a:spcBef>
        <a:spcAft>
          <a:spcPts val="500"/>
        </a:spcAft>
        <a:buClr>
          <a:schemeClr val="bg1">
            <a:lumMod val="50000"/>
          </a:schemeClr>
        </a:buClr>
        <a:buSzPct val="90000"/>
        <a:buFont typeface="LucidaGrande" charset="0"/>
        <a:buChar char="•"/>
        <a:defRPr sz="18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365734" indent="-182866" algn="l" defTabSz="609555" rtl="0" eaLnBrk="1" latinLnBrk="0" hangingPunct="1">
        <a:spcBef>
          <a:spcPts val="0"/>
        </a:spcBef>
        <a:spcAft>
          <a:spcPts val="500"/>
        </a:spcAft>
        <a:buClr>
          <a:schemeClr val="tx1">
            <a:lumMod val="50000"/>
            <a:lumOff val="50000"/>
          </a:schemeClr>
        </a:buClr>
        <a:buFont typeface=".HelveticaNeueDeskInterface-Regular" charset="-120"/>
        <a:buChar char="–"/>
        <a:defRPr sz="18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0" indent="0" algn="l" defTabSz="609555" rtl="0" eaLnBrk="1" latinLnBrk="0" hangingPunct="1">
        <a:spcBef>
          <a:spcPts val="0"/>
        </a:spcBef>
        <a:spcAft>
          <a:spcPts val="300"/>
        </a:spcAft>
        <a:buFontTx/>
        <a:buNone/>
        <a:defRPr sz="1600" kern="1200">
          <a:solidFill>
            <a:schemeClr val="bg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6pPr>
      <a:lvl7pPr marL="6351" indent="0" algn="l" defTabSz="609555" rtl="0" eaLnBrk="1" latinLnBrk="0" hangingPunct="1">
        <a:spcBef>
          <a:spcPts val="0"/>
        </a:spcBef>
        <a:spcAft>
          <a:spcPts val="267"/>
        </a:spcAft>
        <a:buFont typeface="Arial"/>
        <a:buNone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6351" indent="0" algn="l" defTabSz="609555" rtl="0" eaLnBrk="1" latinLnBrk="0" hangingPunct="1">
        <a:spcBef>
          <a:spcPts val="0"/>
        </a:spcBef>
        <a:spcAft>
          <a:spcPts val="200"/>
        </a:spcAft>
        <a:buFont typeface="Arial"/>
        <a:buNone/>
        <a:tabLst/>
        <a:defRPr sz="900" b="0" i="0" kern="1200">
          <a:solidFill>
            <a:schemeClr val="bg1"/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8pPr>
      <a:lvl9pPr marL="137160" indent="-137160" algn="l" defTabSz="609555" rtl="0" eaLnBrk="1" latinLnBrk="0" hangingPunct="1">
        <a:spcBef>
          <a:spcPts val="0"/>
        </a:spcBef>
        <a:spcAft>
          <a:spcPts val="200"/>
        </a:spcAft>
        <a:buFont typeface="+mj-lt"/>
        <a:buAutoNum type="arabicPeriod"/>
        <a:tabLst/>
        <a:defRPr sz="900" b="0" i="0" kern="1200">
          <a:solidFill>
            <a:schemeClr val="bg1"/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9pPr>
    </p:bodyStyle>
    <p:otherStyle>
      <a:defPPr>
        <a:defRPr lang="en-US"/>
      </a:defPPr>
      <a:lvl1pPr marL="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">
          <p15:clr>
            <a:srgbClr val="F26B43"/>
          </p15:clr>
        </p15:guide>
        <p15:guide id="2" pos="7488">
          <p15:clr>
            <a:srgbClr val="F26B43"/>
          </p15:clr>
        </p15:guide>
        <p15:guide id="4" orient="horz" pos="4032">
          <p15:clr>
            <a:srgbClr val="F26B43"/>
          </p15:clr>
        </p15:guide>
        <p15:guide id="6" pos="192">
          <p15:clr>
            <a:srgbClr val="F26B43"/>
          </p15:clr>
        </p15:guide>
        <p15:guide id="7" orient="horz" pos="76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title placeholder"/>
          <p:cNvSpPr>
            <a:spLocks noGrp="1"/>
          </p:cNvSpPr>
          <p:nvPr>
            <p:ph type="title"/>
          </p:nvPr>
        </p:nvSpPr>
        <p:spPr>
          <a:xfrm>
            <a:off x="304800" y="304800"/>
            <a:ext cx="11582400" cy="82905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1752" y="1280160"/>
            <a:ext cx="11582400" cy="45885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sp>
        <p:nvSpPr>
          <p:cNvPr id="4" name="empower - DO NOT DELETE!!!"/>
          <p:cNvSpPr/>
          <p:nvPr>
            <p:custDataLst>
              <p:tags r:id="rId2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l"/>
            <a:endParaRPr lang="de-DE" sz="3200" dirty="0"/>
          </a:p>
        </p:txBody>
      </p:sp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>
          <a:xfrm>
            <a:off x="11199908" y="6511277"/>
            <a:ext cx="687293" cy="16415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Footer -- Edit in Master Layout"/>
          <p:cNvSpPr/>
          <p:nvPr>
            <p:custDataLst>
              <p:tags r:id="rId24"/>
            </p:custDataLst>
          </p:nvPr>
        </p:nvSpPr>
        <p:spPr>
          <a:xfrm>
            <a:off x="304803" y="6477004"/>
            <a:ext cx="10972799" cy="198424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r>
              <a:rPr lang="en-US" sz="1000" kern="1200" dirty="0">
                <a:solidFill>
                  <a:schemeClr val="tx1"/>
                </a:solidFill>
                <a:latin typeface="Arial Narrow"/>
                <a:ea typeface="+mn-ea"/>
                <a:cs typeface="Arial Narrow"/>
              </a:rPr>
              <a:t>CONFIDENTIAL. FOR ADVISOR USE ONLY. NOT FOR INVESTOR USE. </a:t>
            </a:r>
          </a:p>
        </p:txBody>
      </p:sp>
    </p:spTree>
    <p:extLst>
      <p:ext uri="{BB962C8B-B14F-4D97-AF65-F5344CB8AC3E}">
        <p14:creationId xmlns:p14="http://schemas.microsoft.com/office/powerpoint/2010/main" val="815756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  <p:sldLayoutId id="2147483874" r:id="rId6"/>
    <p:sldLayoutId id="2147483875" r:id="rId7"/>
    <p:sldLayoutId id="2147483876" r:id="rId8"/>
    <p:sldLayoutId id="2147483877" r:id="rId9"/>
    <p:sldLayoutId id="2147483878" r:id="rId10"/>
    <p:sldLayoutId id="2147483879" r:id="rId11"/>
    <p:sldLayoutId id="2147483880" r:id="rId12"/>
    <p:sldLayoutId id="2147483881" r:id="rId13"/>
    <p:sldLayoutId id="2147483882" r:id="rId14"/>
    <p:sldLayoutId id="2147483883" r:id="rId15"/>
    <p:sldLayoutId id="2147483884" r:id="rId16"/>
    <p:sldLayoutId id="2147483885" r:id="rId17"/>
    <p:sldLayoutId id="2147483886" r:id="rId18"/>
    <p:sldLayoutId id="2147483887" r:id="rId19"/>
    <p:sldLayoutId id="2147483888" r:id="rId20"/>
    <p:sldLayoutId id="2147483889" r:id="rId21"/>
  </p:sldLayoutIdLst>
  <p:hf hdr="0" dt="0"/>
  <p:txStyles>
    <p:titleStyle>
      <a:lvl1pPr algn="l" defTabSz="609555" rtl="0" eaLnBrk="1" latinLnBrk="0" hangingPunct="1">
        <a:lnSpc>
          <a:spcPts val="3300"/>
        </a:lnSpc>
        <a:spcBef>
          <a:spcPct val="0"/>
        </a:spcBef>
        <a:buNone/>
        <a:defRPr sz="3300" b="1" i="0" kern="1200" cap="none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609555" rtl="0" eaLnBrk="1" latinLnBrk="0" hangingPunct="1">
        <a:spcBef>
          <a:spcPts val="1000"/>
        </a:spcBef>
        <a:spcAft>
          <a:spcPts val="300"/>
        </a:spcAft>
        <a:buFont typeface="Arial"/>
        <a:buNone/>
        <a:defRPr sz="2000" b="0" kern="1200" cap="none" baseline="0">
          <a:solidFill>
            <a:schemeClr val="accent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609555" rtl="0" eaLnBrk="1" latinLnBrk="0" hangingPunct="1">
        <a:lnSpc>
          <a:spcPct val="92000"/>
        </a:lnSpc>
        <a:spcBef>
          <a:spcPts val="400"/>
        </a:spcBef>
        <a:spcAft>
          <a:spcPts val="300"/>
        </a:spcAft>
        <a:buClr>
          <a:schemeClr val="tx2"/>
        </a:buClr>
        <a:buFontTx/>
        <a:buNone/>
        <a:defRPr sz="1300" b="1" kern="1200" cap="all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0" indent="0" algn="l" defTabSz="609555" rtl="0" eaLnBrk="1" latinLnBrk="0" hangingPunct="1">
        <a:spcBef>
          <a:spcPts val="0"/>
        </a:spcBef>
        <a:spcAft>
          <a:spcPts val="500"/>
        </a:spcAft>
        <a:buClr>
          <a:schemeClr val="tx2"/>
        </a:buClr>
        <a:buFont typeface="Lucida Grande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82880" indent="-182880" algn="l" defTabSz="609555" rtl="0" eaLnBrk="1" latinLnBrk="0" hangingPunct="1">
        <a:spcBef>
          <a:spcPts val="0"/>
        </a:spcBef>
        <a:spcAft>
          <a:spcPts val="500"/>
        </a:spcAft>
        <a:buClr>
          <a:schemeClr val="bg1">
            <a:lumMod val="50000"/>
          </a:schemeClr>
        </a:buClr>
        <a:buSzPct val="90000"/>
        <a:buFont typeface="LucidaGrande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365734" indent="-182866" algn="l" defTabSz="609555" rtl="0" eaLnBrk="1" latinLnBrk="0" hangingPunct="1">
        <a:spcBef>
          <a:spcPts val="0"/>
        </a:spcBef>
        <a:spcAft>
          <a:spcPts val="500"/>
        </a:spcAft>
        <a:buClr>
          <a:schemeClr val="tx1">
            <a:lumMod val="50000"/>
            <a:lumOff val="50000"/>
          </a:schemeClr>
        </a:buClr>
        <a:buFont typeface=".HelveticaNeueDeskInterface-Regular" charset="-120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0" indent="0" algn="l" defTabSz="609555" rtl="0" eaLnBrk="1" latinLnBrk="0" hangingPunct="1">
        <a:spcBef>
          <a:spcPts val="0"/>
        </a:spcBef>
        <a:spcAft>
          <a:spcPts val="300"/>
        </a:spcAft>
        <a:buFontTx/>
        <a:buNone/>
        <a:defRPr sz="160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6pPr>
      <a:lvl7pPr marL="6351" indent="0" algn="l" defTabSz="609555" rtl="0" eaLnBrk="1" latinLnBrk="0" hangingPunct="1">
        <a:spcBef>
          <a:spcPts val="0"/>
        </a:spcBef>
        <a:spcAft>
          <a:spcPts val="267"/>
        </a:spcAft>
        <a:buFont typeface="Arial"/>
        <a:buNone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6351" indent="0" algn="l" defTabSz="609555" rtl="0" eaLnBrk="1" latinLnBrk="0" hangingPunct="1">
        <a:spcBef>
          <a:spcPts val="0"/>
        </a:spcBef>
        <a:spcAft>
          <a:spcPts val="200"/>
        </a:spcAft>
        <a:buFont typeface="Arial"/>
        <a:buNone/>
        <a:tabLst/>
        <a:defRPr sz="900" b="0" i="0" kern="1200">
          <a:solidFill>
            <a:schemeClr val="tx1"/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8pPr>
      <a:lvl9pPr marL="137160" indent="-137160" algn="l" defTabSz="609555" rtl="0" eaLnBrk="1" latinLnBrk="0" hangingPunct="1">
        <a:spcBef>
          <a:spcPts val="0"/>
        </a:spcBef>
        <a:spcAft>
          <a:spcPts val="200"/>
        </a:spcAft>
        <a:buFont typeface="+mj-lt"/>
        <a:buAutoNum type="arabicPeriod"/>
        <a:tabLst/>
        <a:defRPr sz="900" b="0" i="0" kern="1200">
          <a:solidFill>
            <a:schemeClr val="tx1"/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9pPr>
    </p:bodyStyle>
    <p:otherStyle>
      <a:defPPr>
        <a:defRPr lang="en-US"/>
      </a:defPPr>
      <a:lvl1pPr marL="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orient="horz" pos="192">
          <p15:clr>
            <a:srgbClr val="F26B43"/>
          </p15:clr>
        </p15:guide>
        <p15:guide id="9" pos="7488">
          <p15:clr>
            <a:srgbClr val="F26B43"/>
          </p15:clr>
        </p15:guide>
        <p15:guide id="10" orient="horz" pos="4032">
          <p15:clr>
            <a:srgbClr val="F26B43"/>
          </p15:clr>
        </p15:guide>
        <p15:guide id="11" pos="192">
          <p15:clr>
            <a:srgbClr val="F26B43"/>
          </p15:clr>
        </p15:guide>
        <p15:guide id="12" orient="horz" pos="76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304800"/>
            <a:ext cx="11582400" cy="9144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397000"/>
            <a:ext cx="11582400" cy="4495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empower - DO NOT DELETE!!!" hidden="1"/>
          <p:cNvSpPr/>
          <p:nvPr>
            <p:custDataLst>
              <p:tags r:id="rId2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l"/>
            <a:endParaRPr lang="de-DE" sz="3200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4"/>
          </p:nvPr>
        </p:nvSpPr>
        <p:spPr>
          <a:xfrm>
            <a:off x="11199908" y="6511278"/>
            <a:ext cx="687293" cy="16415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Rectangle 7"/>
          <p:cNvSpPr/>
          <p:nvPr>
            <p:custDataLst>
              <p:tags r:id="rId29"/>
            </p:custDataLst>
          </p:nvPr>
        </p:nvSpPr>
        <p:spPr>
          <a:xfrm>
            <a:off x="304805" y="6477000"/>
            <a:ext cx="10972799" cy="198424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endParaRPr lang="en-US" sz="1000" kern="1200" dirty="0">
              <a:solidFill>
                <a:schemeClr val="bg1"/>
              </a:solidFill>
              <a:latin typeface="Arial Narrow"/>
              <a:ea typeface="+mn-ea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3865318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  <p:sldLayoutId id="2147483900" r:id="rId10"/>
    <p:sldLayoutId id="2147483901" r:id="rId11"/>
    <p:sldLayoutId id="2147483902" r:id="rId12"/>
    <p:sldLayoutId id="2147483903" r:id="rId13"/>
    <p:sldLayoutId id="2147483904" r:id="rId14"/>
    <p:sldLayoutId id="2147483905" r:id="rId15"/>
    <p:sldLayoutId id="2147483906" r:id="rId16"/>
    <p:sldLayoutId id="2147483907" r:id="rId17"/>
    <p:sldLayoutId id="2147483908" r:id="rId18"/>
    <p:sldLayoutId id="2147483909" r:id="rId19"/>
    <p:sldLayoutId id="2147483910" r:id="rId20"/>
    <p:sldLayoutId id="2147483911" r:id="rId21"/>
    <p:sldLayoutId id="2147483912" r:id="rId22"/>
    <p:sldLayoutId id="2147483913" r:id="rId23"/>
    <p:sldLayoutId id="2147483914" r:id="rId24"/>
    <p:sldLayoutId id="2147483915" r:id="rId25"/>
    <p:sldLayoutId id="2147483954" r:id="rId26"/>
  </p:sldLayoutIdLst>
  <p:hf hdr="0" dt="0"/>
  <p:txStyles>
    <p:titleStyle>
      <a:lvl1pPr algn="l" defTabSz="609539" rtl="0" eaLnBrk="1" latinLnBrk="0" hangingPunct="1">
        <a:lnSpc>
          <a:spcPts val="3200"/>
        </a:lnSpc>
        <a:spcBef>
          <a:spcPct val="0"/>
        </a:spcBef>
        <a:buNone/>
        <a:defRPr sz="2933" b="1" i="0" kern="1200" cap="all">
          <a:solidFill>
            <a:schemeClr val="bg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609539" rtl="0" eaLnBrk="1" latinLnBrk="0" hangingPunct="1">
        <a:spcBef>
          <a:spcPts val="1067"/>
        </a:spcBef>
        <a:spcAft>
          <a:spcPts val="267"/>
        </a:spcAft>
        <a:buFont typeface="Arial"/>
        <a:buNone/>
        <a:defRPr sz="2400" b="0" kern="1200" cap="none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609539" rtl="0" eaLnBrk="1" latinLnBrk="0" hangingPunct="1">
        <a:spcBef>
          <a:spcPts val="1067"/>
        </a:spcBef>
        <a:spcAft>
          <a:spcPts val="267"/>
        </a:spcAft>
        <a:buClr>
          <a:schemeClr val="tx2"/>
        </a:buClr>
        <a:buFontTx/>
        <a:buNone/>
        <a:defRPr sz="1733" b="1" kern="1200" cap="all" baseline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0" indent="0" algn="l" defTabSz="609539" rtl="0" eaLnBrk="1" latinLnBrk="0" hangingPunct="1">
        <a:spcBef>
          <a:spcPts val="0"/>
        </a:spcBef>
        <a:spcAft>
          <a:spcPts val="533"/>
        </a:spcAft>
        <a:buClr>
          <a:schemeClr val="tx2"/>
        </a:buClr>
        <a:buFont typeface="Lucida Grande"/>
        <a:buNone/>
        <a:defRPr sz="1867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24350" indent="-224350" algn="l" defTabSz="609539" rtl="0" eaLnBrk="1" latinLnBrk="0" hangingPunct="1">
        <a:spcBef>
          <a:spcPts val="0"/>
        </a:spcBef>
        <a:spcAft>
          <a:spcPts val="533"/>
        </a:spcAft>
        <a:buClr>
          <a:schemeClr val="tx2"/>
        </a:buClr>
        <a:buFont typeface="LucidaGrande" charset="0"/>
        <a:buChar char="•"/>
        <a:defRPr sz="1867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365726" indent="-182862" algn="l" defTabSz="609539" rtl="0" eaLnBrk="1" latinLnBrk="0" hangingPunct="1">
        <a:spcBef>
          <a:spcPts val="0"/>
        </a:spcBef>
        <a:spcAft>
          <a:spcPts val="533"/>
        </a:spcAft>
        <a:buClr>
          <a:schemeClr val="tx1">
            <a:lumMod val="50000"/>
            <a:lumOff val="50000"/>
          </a:schemeClr>
        </a:buClr>
        <a:buFont typeface=".HelveticaNeueDeskInterface-Regular" charset="-120"/>
        <a:buChar char="–"/>
        <a:defRPr sz="1867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0" indent="0" algn="l" defTabSz="609539" rtl="0" eaLnBrk="1" latinLnBrk="0" hangingPunct="1">
        <a:spcBef>
          <a:spcPts val="0"/>
        </a:spcBef>
        <a:buFontTx/>
        <a:buNone/>
        <a:defRPr sz="1200" kern="1200">
          <a:solidFill>
            <a:schemeClr val="tx1"/>
          </a:solidFill>
          <a:latin typeface="Arial Narrow" charset="0"/>
          <a:ea typeface="Arial Narrow" charset="0"/>
          <a:cs typeface="Arial Narrow" charset="0"/>
        </a:defRPr>
      </a:lvl6pPr>
      <a:lvl7pPr marL="3962005" indent="-304768" algn="l" defTabSz="609539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4" indent="-304768" algn="l" defTabSz="609539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68" algn="l" defTabSz="609539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0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8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8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6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3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F26B43"/>
          </p15:clr>
        </p15:guide>
        <p15:guide id="2" pos="5616">
          <p15:clr>
            <a:srgbClr val="F26B43"/>
          </p15:clr>
        </p15:guide>
        <p15:guide id="3" orient="horz" pos="1504">
          <p15:clr>
            <a:srgbClr val="F26B43"/>
          </p15:clr>
        </p15:guide>
        <p15:guide id="4" orient="horz" pos="2999">
          <p15:clr>
            <a:srgbClr val="F26B43"/>
          </p15:clr>
        </p15:guide>
        <p15:guide id="5" orient="horz" pos="1851">
          <p15:clr>
            <a:srgbClr val="F26B43"/>
          </p15:clr>
        </p15:guide>
        <p15:guide id="6" pos="144">
          <p15:clr>
            <a:srgbClr val="F26B43"/>
          </p15:clr>
        </p15:guide>
        <p15:guide id="7" orient="horz" pos="66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title placeholder"/>
          <p:cNvSpPr>
            <a:spLocks noGrp="1"/>
          </p:cNvSpPr>
          <p:nvPr>
            <p:ph type="title"/>
          </p:nvPr>
        </p:nvSpPr>
        <p:spPr>
          <a:xfrm>
            <a:off x="304800" y="304800"/>
            <a:ext cx="11582400" cy="82905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1752" y="1280160"/>
            <a:ext cx="11582400" cy="45885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sp>
        <p:nvSpPr>
          <p:cNvPr id="4" name="empower - DO NOT DELETE!!!"/>
          <p:cNvSpPr/>
          <p:nvPr>
            <p:custDataLst>
              <p:tags r:id="rId1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l"/>
            <a:endParaRPr lang="de-DE" sz="3200" dirty="0"/>
          </a:p>
        </p:txBody>
      </p:sp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>
          <a:xfrm>
            <a:off x="11199908" y="6511279"/>
            <a:ext cx="687293" cy="16415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Footer -- Edit in Master Layout"/>
          <p:cNvSpPr/>
          <p:nvPr>
            <p:custDataLst>
              <p:tags r:id="rId18"/>
            </p:custDataLst>
          </p:nvPr>
        </p:nvSpPr>
        <p:spPr>
          <a:xfrm>
            <a:off x="304806" y="6477004"/>
            <a:ext cx="10972799" cy="198424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endParaRPr lang="en-US" sz="1000" kern="1200" dirty="0">
              <a:solidFill>
                <a:schemeClr val="bg1"/>
              </a:solidFill>
              <a:latin typeface="Arial Narrow"/>
              <a:ea typeface="+mn-ea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2311177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  <p:sldLayoutId id="2147483926" r:id="rId10"/>
    <p:sldLayoutId id="2147483927" r:id="rId11"/>
    <p:sldLayoutId id="2147483928" r:id="rId12"/>
    <p:sldLayoutId id="2147483929" r:id="rId13"/>
    <p:sldLayoutId id="2147483930" r:id="rId14"/>
    <p:sldLayoutId id="2147483931" r:id="rId15"/>
  </p:sldLayoutIdLst>
  <p:hf hdr="0" dt="0"/>
  <p:txStyles>
    <p:titleStyle>
      <a:lvl1pPr algn="l" defTabSz="609523" rtl="0" eaLnBrk="1" latinLnBrk="0" hangingPunct="1">
        <a:lnSpc>
          <a:spcPts val="3200"/>
        </a:lnSpc>
        <a:spcBef>
          <a:spcPct val="0"/>
        </a:spcBef>
        <a:buNone/>
        <a:defRPr sz="3500" b="1" i="0" kern="1200" cap="none">
          <a:solidFill>
            <a:schemeClr val="bg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609523" rtl="0" eaLnBrk="1" latinLnBrk="0" hangingPunct="1">
        <a:spcBef>
          <a:spcPts val="1000"/>
        </a:spcBef>
        <a:spcAft>
          <a:spcPts val="300"/>
        </a:spcAft>
        <a:buFont typeface="Arial"/>
        <a:buNone/>
        <a:defRPr sz="2000" b="0" kern="1200" cap="none" baseline="0">
          <a:solidFill>
            <a:schemeClr val="accent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609523" rtl="0" eaLnBrk="1" latinLnBrk="0" hangingPunct="1">
        <a:lnSpc>
          <a:spcPct val="92000"/>
        </a:lnSpc>
        <a:spcBef>
          <a:spcPts val="400"/>
        </a:spcBef>
        <a:spcAft>
          <a:spcPts val="300"/>
        </a:spcAft>
        <a:buClr>
          <a:schemeClr val="tx2"/>
        </a:buClr>
        <a:buFontTx/>
        <a:buNone/>
        <a:defRPr sz="1300" b="1" kern="1200" cap="all" baseline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0" indent="0" algn="l" defTabSz="609523" rtl="0" eaLnBrk="1" latinLnBrk="0" hangingPunct="1">
        <a:spcBef>
          <a:spcPts val="0"/>
        </a:spcBef>
        <a:spcAft>
          <a:spcPts val="500"/>
        </a:spcAft>
        <a:buClr>
          <a:schemeClr val="tx2"/>
        </a:buClr>
        <a:buFont typeface="Lucida Grande"/>
        <a:buNone/>
        <a:defRPr sz="18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82870" indent="-182870" algn="l" defTabSz="609523" rtl="0" eaLnBrk="1" latinLnBrk="0" hangingPunct="1">
        <a:spcBef>
          <a:spcPts val="0"/>
        </a:spcBef>
        <a:spcAft>
          <a:spcPts val="500"/>
        </a:spcAft>
        <a:buClr>
          <a:schemeClr val="bg1">
            <a:lumMod val="50000"/>
          </a:schemeClr>
        </a:buClr>
        <a:buSzPct val="90000"/>
        <a:buFont typeface="LucidaGrande" charset="0"/>
        <a:buChar char="•"/>
        <a:defRPr sz="18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365718" indent="-182858" algn="l" defTabSz="609523" rtl="0" eaLnBrk="1" latinLnBrk="0" hangingPunct="1">
        <a:spcBef>
          <a:spcPts val="0"/>
        </a:spcBef>
        <a:spcAft>
          <a:spcPts val="500"/>
        </a:spcAft>
        <a:buClr>
          <a:schemeClr val="tx1">
            <a:lumMod val="50000"/>
            <a:lumOff val="50000"/>
          </a:schemeClr>
        </a:buClr>
        <a:buFont typeface=".HelveticaNeueDeskInterface-Regular" charset="-120"/>
        <a:buChar char="–"/>
        <a:defRPr sz="18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0" indent="0" algn="l" defTabSz="609523" rtl="0" eaLnBrk="1" latinLnBrk="0" hangingPunct="1">
        <a:spcBef>
          <a:spcPts val="0"/>
        </a:spcBef>
        <a:spcAft>
          <a:spcPts val="300"/>
        </a:spcAft>
        <a:buFontTx/>
        <a:buNone/>
        <a:defRPr sz="1600" kern="1200">
          <a:solidFill>
            <a:schemeClr val="bg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6pPr>
      <a:lvl7pPr marL="6351" indent="0" algn="l" defTabSz="609523" rtl="0" eaLnBrk="1" latinLnBrk="0" hangingPunct="1">
        <a:spcBef>
          <a:spcPts val="0"/>
        </a:spcBef>
        <a:spcAft>
          <a:spcPts val="267"/>
        </a:spcAft>
        <a:buFont typeface="Arial"/>
        <a:buNone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6351" indent="0" algn="l" defTabSz="609523" rtl="0" eaLnBrk="1" latinLnBrk="0" hangingPunct="1">
        <a:spcBef>
          <a:spcPts val="0"/>
        </a:spcBef>
        <a:spcAft>
          <a:spcPts val="200"/>
        </a:spcAft>
        <a:buFont typeface="Arial"/>
        <a:buNone/>
        <a:tabLst/>
        <a:defRPr sz="900" b="0" i="0" kern="1200">
          <a:solidFill>
            <a:schemeClr val="bg1"/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8pPr>
      <a:lvl9pPr marL="137154" indent="-137154" algn="l" defTabSz="609523" rtl="0" eaLnBrk="1" latinLnBrk="0" hangingPunct="1">
        <a:spcBef>
          <a:spcPts val="0"/>
        </a:spcBef>
        <a:spcAft>
          <a:spcPts val="200"/>
        </a:spcAft>
        <a:buFont typeface="+mj-lt"/>
        <a:buAutoNum type="arabicPeriod"/>
        <a:tabLst/>
        <a:defRPr sz="900" b="0" i="0" kern="1200">
          <a:solidFill>
            <a:schemeClr val="bg1"/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9pPr>
    </p:bodyStyle>
    <p:otherStyle>
      <a:defPPr>
        <a:defRPr lang="en-US"/>
      </a:defPPr>
      <a:lvl1pPr marL="0" algn="l" defTabSz="60952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23" algn="l" defTabSz="60952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50" algn="l" defTabSz="60952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73" algn="l" defTabSz="60952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98" algn="l" defTabSz="60952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20" algn="l" defTabSz="60952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143" algn="l" defTabSz="60952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667" algn="l" defTabSz="60952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191" algn="l" defTabSz="60952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">
          <p15:clr>
            <a:srgbClr val="F26B43"/>
          </p15:clr>
        </p15:guide>
        <p15:guide id="2" pos="7488">
          <p15:clr>
            <a:srgbClr val="F26B43"/>
          </p15:clr>
        </p15:guide>
        <p15:guide id="4" orient="horz" pos="4032">
          <p15:clr>
            <a:srgbClr val="F26B43"/>
          </p15:clr>
        </p15:guide>
        <p15:guide id="6" pos="192">
          <p15:clr>
            <a:srgbClr val="F26B43"/>
          </p15:clr>
        </p15:guide>
        <p15:guide id="7" orient="horz" pos="768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title placeholder"/>
          <p:cNvSpPr>
            <a:spLocks noGrp="1"/>
          </p:cNvSpPr>
          <p:nvPr>
            <p:ph type="title"/>
          </p:nvPr>
        </p:nvSpPr>
        <p:spPr>
          <a:xfrm>
            <a:off x="304800" y="304800"/>
            <a:ext cx="11582400" cy="82905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1752" y="1280160"/>
            <a:ext cx="11582400" cy="458856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  <a:p>
            <a:pPr lvl="4"/>
            <a:endParaRPr lang="en-US" dirty="0"/>
          </a:p>
        </p:txBody>
      </p:sp>
      <p:sp>
        <p:nvSpPr>
          <p:cNvPr id="4" name="empower - DO NOT DELETE!!!"/>
          <p:cNvSpPr/>
          <p:nvPr>
            <p:custDataLst>
              <p:tags r:id="rId1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l"/>
            <a:endParaRPr lang="de-DE" sz="3200" dirty="0"/>
          </a:p>
        </p:txBody>
      </p:sp>
      <p:sp>
        <p:nvSpPr>
          <p:cNvPr id="12" name="Slide Number"/>
          <p:cNvSpPr>
            <a:spLocks noGrp="1"/>
          </p:cNvSpPr>
          <p:nvPr>
            <p:ph type="sldNum" sz="quarter" idx="4"/>
          </p:nvPr>
        </p:nvSpPr>
        <p:spPr>
          <a:xfrm>
            <a:off x="11199908" y="6511278"/>
            <a:ext cx="687293" cy="16415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2022EC7D-EA31-4613-AF89-5E3831E6F1D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Footer -- Edit in Master Layout"/>
          <p:cNvSpPr/>
          <p:nvPr>
            <p:custDataLst>
              <p:tags r:id="rId18"/>
            </p:custDataLst>
          </p:nvPr>
        </p:nvSpPr>
        <p:spPr>
          <a:xfrm>
            <a:off x="304805" y="6477004"/>
            <a:ext cx="10972799" cy="198424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/>
          <a:p>
            <a:r>
              <a:rPr lang="en-US" sz="1000" kern="1200" dirty="0">
                <a:solidFill>
                  <a:schemeClr val="bg1"/>
                </a:solidFill>
                <a:latin typeface="Arial Narrow"/>
                <a:ea typeface="+mn-ea"/>
                <a:cs typeface="Arial Narrow"/>
              </a:rPr>
              <a:t>CONFIDENTIAL. FOR ADVISOR USE ONLY. NOT FOR INVESTOR USE. </a:t>
            </a:r>
          </a:p>
        </p:txBody>
      </p:sp>
    </p:spTree>
    <p:extLst>
      <p:ext uri="{BB962C8B-B14F-4D97-AF65-F5344CB8AC3E}">
        <p14:creationId xmlns:p14="http://schemas.microsoft.com/office/powerpoint/2010/main" val="3678108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  <p:sldLayoutId id="2147483935" r:id="rId2"/>
    <p:sldLayoutId id="2147483936" r:id="rId3"/>
    <p:sldLayoutId id="2147483937" r:id="rId4"/>
    <p:sldLayoutId id="2147483938" r:id="rId5"/>
    <p:sldLayoutId id="2147483939" r:id="rId6"/>
    <p:sldLayoutId id="2147483940" r:id="rId7"/>
    <p:sldLayoutId id="2147483941" r:id="rId8"/>
    <p:sldLayoutId id="2147483942" r:id="rId9"/>
    <p:sldLayoutId id="2147483943" r:id="rId10"/>
    <p:sldLayoutId id="2147483944" r:id="rId11"/>
    <p:sldLayoutId id="2147483945" r:id="rId12"/>
    <p:sldLayoutId id="2147483946" r:id="rId13"/>
    <p:sldLayoutId id="2147483947" r:id="rId14"/>
    <p:sldLayoutId id="2147483948" r:id="rId15"/>
  </p:sldLayoutIdLst>
  <p:hf hdr="0" dt="0"/>
  <p:txStyles>
    <p:titleStyle>
      <a:lvl1pPr algn="l" defTabSz="609539" rtl="0" eaLnBrk="1" latinLnBrk="0" hangingPunct="1">
        <a:lnSpc>
          <a:spcPts val="3200"/>
        </a:lnSpc>
        <a:spcBef>
          <a:spcPct val="0"/>
        </a:spcBef>
        <a:buNone/>
        <a:defRPr sz="3500" b="1" i="0" kern="1200" cap="none">
          <a:solidFill>
            <a:schemeClr val="bg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609539" rtl="0" eaLnBrk="1" latinLnBrk="0" hangingPunct="1">
        <a:spcBef>
          <a:spcPts val="1000"/>
        </a:spcBef>
        <a:spcAft>
          <a:spcPts val="300"/>
        </a:spcAft>
        <a:buFont typeface="Arial"/>
        <a:buNone/>
        <a:defRPr sz="2000" b="0" kern="1200" cap="none" baseline="0">
          <a:solidFill>
            <a:schemeClr val="accent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0" indent="0" algn="l" defTabSz="609539" rtl="0" eaLnBrk="1" latinLnBrk="0" hangingPunct="1">
        <a:lnSpc>
          <a:spcPct val="92000"/>
        </a:lnSpc>
        <a:spcBef>
          <a:spcPts val="400"/>
        </a:spcBef>
        <a:spcAft>
          <a:spcPts val="300"/>
        </a:spcAft>
        <a:buClr>
          <a:schemeClr val="tx2"/>
        </a:buClr>
        <a:buFontTx/>
        <a:buNone/>
        <a:defRPr sz="1300" b="1" kern="1200" cap="all" baseline="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0" indent="0" algn="l" defTabSz="609539" rtl="0" eaLnBrk="1" latinLnBrk="0" hangingPunct="1">
        <a:spcBef>
          <a:spcPts val="0"/>
        </a:spcBef>
        <a:spcAft>
          <a:spcPts val="500"/>
        </a:spcAft>
        <a:buClr>
          <a:schemeClr val="tx2"/>
        </a:buClr>
        <a:buFont typeface="Lucida Grande"/>
        <a:buNone/>
        <a:defRPr sz="18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82875" indent="-182875" algn="l" defTabSz="609539" rtl="0" eaLnBrk="1" latinLnBrk="0" hangingPunct="1">
        <a:spcBef>
          <a:spcPts val="0"/>
        </a:spcBef>
        <a:spcAft>
          <a:spcPts val="500"/>
        </a:spcAft>
        <a:buClr>
          <a:schemeClr val="bg1">
            <a:lumMod val="50000"/>
          </a:schemeClr>
        </a:buClr>
        <a:buSzPct val="90000"/>
        <a:buFont typeface="LucidaGrande" charset="0"/>
        <a:buChar char="•"/>
        <a:defRPr sz="18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365726" indent="-182862" algn="l" defTabSz="609539" rtl="0" eaLnBrk="1" latinLnBrk="0" hangingPunct="1">
        <a:spcBef>
          <a:spcPts val="0"/>
        </a:spcBef>
        <a:spcAft>
          <a:spcPts val="500"/>
        </a:spcAft>
        <a:buClr>
          <a:schemeClr val="tx1">
            <a:lumMod val="50000"/>
            <a:lumOff val="50000"/>
          </a:schemeClr>
        </a:buClr>
        <a:buFont typeface=".HelveticaNeueDeskInterface-Regular" charset="-120"/>
        <a:buChar char="–"/>
        <a:defRPr sz="18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0" indent="0" algn="l" defTabSz="609539" rtl="0" eaLnBrk="1" latinLnBrk="0" hangingPunct="1">
        <a:spcBef>
          <a:spcPts val="0"/>
        </a:spcBef>
        <a:spcAft>
          <a:spcPts val="300"/>
        </a:spcAft>
        <a:buFontTx/>
        <a:buNone/>
        <a:defRPr sz="1600" kern="1200">
          <a:solidFill>
            <a:schemeClr val="bg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6pPr>
      <a:lvl7pPr marL="6351" indent="0" algn="l" defTabSz="609539" rtl="0" eaLnBrk="1" latinLnBrk="0" hangingPunct="1">
        <a:spcBef>
          <a:spcPts val="0"/>
        </a:spcBef>
        <a:spcAft>
          <a:spcPts val="267"/>
        </a:spcAft>
        <a:buFont typeface="Arial"/>
        <a:buNone/>
        <a:tabLst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6351" indent="0" algn="l" defTabSz="609539" rtl="0" eaLnBrk="1" latinLnBrk="0" hangingPunct="1">
        <a:spcBef>
          <a:spcPts val="0"/>
        </a:spcBef>
        <a:spcAft>
          <a:spcPts val="200"/>
        </a:spcAft>
        <a:buFont typeface="Arial"/>
        <a:buNone/>
        <a:tabLst/>
        <a:defRPr sz="900" b="0" i="0" kern="1200">
          <a:solidFill>
            <a:schemeClr val="bg1"/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8pPr>
      <a:lvl9pPr marL="137157" indent="-137157" algn="l" defTabSz="609539" rtl="0" eaLnBrk="1" latinLnBrk="0" hangingPunct="1">
        <a:spcBef>
          <a:spcPts val="0"/>
        </a:spcBef>
        <a:spcAft>
          <a:spcPts val="200"/>
        </a:spcAft>
        <a:buFont typeface="+mj-lt"/>
        <a:buAutoNum type="arabicPeriod"/>
        <a:tabLst/>
        <a:defRPr sz="900" b="0" i="0" kern="1200">
          <a:solidFill>
            <a:schemeClr val="bg1"/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9pPr>
    </p:bodyStyle>
    <p:otherStyle>
      <a:defPPr>
        <a:defRPr lang="en-US"/>
      </a:defPPr>
      <a:lvl1pPr marL="0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0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8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8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6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5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3" algn="l" defTabSz="6095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2">
          <p15:clr>
            <a:srgbClr val="F26B43"/>
          </p15:clr>
        </p15:guide>
        <p15:guide id="2" pos="7488">
          <p15:clr>
            <a:srgbClr val="F26B43"/>
          </p15:clr>
        </p15:guide>
        <p15:guide id="4" orient="horz" pos="4032">
          <p15:clr>
            <a:srgbClr val="F26B43"/>
          </p15:clr>
        </p15:guide>
        <p15:guide id="6" pos="192">
          <p15:clr>
            <a:srgbClr val="F26B43"/>
          </p15:clr>
        </p15:guide>
        <p15:guide id="7" orient="horz" pos="76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18" Type="http://schemas.openxmlformats.org/officeDocument/2006/relationships/image" Target="../media/image3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17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29.png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10" Type="http://schemas.openxmlformats.org/officeDocument/2006/relationships/image" Target="../media/image23.png"/><Relationship Id="rId19" Type="http://schemas.openxmlformats.org/officeDocument/2006/relationships/image" Target="../media/image32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3.xml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986931-AE0A-3543-9BA8-E8C56535D0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2162654"/>
            <a:ext cx="11582400" cy="1178143"/>
          </a:xfrm>
        </p:spPr>
        <p:txBody>
          <a:bodyPr/>
          <a:lstStyle/>
          <a:p>
            <a:r>
              <a:rPr lang="en-US" sz="4400" dirty="0"/>
              <a:t>Predictive Index – Overview &amp; Support Slid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27100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BAA6807B-96F3-4E4A-B9CF-29FFAF6888C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954"/>
          <a:stretch/>
        </p:blipFill>
        <p:spPr bwMode="auto">
          <a:xfrm>
            <a:off x="6512561" y="166859"/>
            <a:ext cx="4374514" cy="5538761"/>
          </a:xfrm>
          <a:prstGeom prst="rect">
            <a:avLst/>
          </a:prstGeom>
          <a:noFill/>
          <a:ln>
            <a:noFill/>
          </a:ln>
          <a:effectLst>
            <a:outerShdw blurRad="127000" dist="1270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49CD709-B892-46DF-8CDA-253BDAD50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1640" y="734885"/>
            <a:ext cx="10515600" cy="685015"/>
          </a:xfrm>
        </p:spPr>
        <p:txBody>
          <a:bodyPr/>
          <a:lstStyle/>
          <a:p>
            <a:r>
              <a:rPr lang="en-US" sz="3600" dirty="0"/>
              <a:t>Factor </a:t>
            </a:r>
            <a:r>
              <a:rPr lang="en-US" sz="3600" dirty="0">
                <a:solidFill>
                  <a:schemeClr val="accent1"/>
                </a:solidFill>
              </a:rPr>
              <a:t>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373601-55E4-499F-8954-2006CE4B26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1839" y="1995476"/>
            <a:ext cx="5253564" cy="4432425"/>
          </a:xfrm>
        </p:spPr>
        <p:txBody>
          <a:bodyPr anchor="ctr"/>
          <a:lstStyle/>
          <a:p>
            <a:pPr algn="ctr"/>
            <a:r>
              <a:rPr lang="en-US" sz="4000" dirty="0"/>
              <a:t>Reflects our </a:t>
            </a:r>
            <a:r>
              <a:rPr lang="en-US" sz="4000" dirty="0">
                <a:solidFill>
                  <a:schemeClr val="accent6"/>
                </a:solidFill>
              </a:rPr>
              <a:t>decision making</a:t>
            </a:r>
            <a:r>
              <a:rPr lang="en-US" sz="4000" dirty="0"/>
              <a:t> or judgment style</a:t>
            </a:r>
          </a:p>
          <a:p>
            <a:endParaRPr lang="en-US" sz="40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D7F4B49-8E83-4326-9C34-17C1D5D19324}"/>
              </a:ext>
            </a:extLst>
          </p:cNvPr>
          <p:cNvSpPr/>
          <p:nvPr/>
        </p:nvSpPr>
        <p:spPr>
          <a:xfrm>
            <a:off x="6765687" y="4635302"/>
            <a:ext cx="2073513" cy="984447"/>
          </a:xfrm>
          <a:prstGeom prst="rect">
            <a:avLst/>
          </a:prstGeom>
          <a:solidFill>
            <a:schemeClr val="accent4">
              <a:lumMod val="75000"/>
              <a:alpha val="24000"/>
            </a:scheme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16AEB3E-2A29-4262-8B0F-740A489CBE67}"/>
              </a:ext>
            </a:extLst>
          </p:cNvPr>
          <p:cNvSpPr txBox="1"/>
          <p:nvPr/>
        </p:nvSpPr>
        <p:spPr>
          <a:xfrm>
            <a:off x="6764514" y="5843399"/>
            <a:ext cx="10851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subjectiv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91F596-EDA0-4984-BF2D-7B051730029E}"/>
              </a:ext>
            </a:extLst>
          </p:cNvPr>
          <p:cNvSpPr txBox="1"/>
          <p:nvPr/>
        </p:nvSpPr>
        <p:spPr>
          <a:xfrm>
            <a:off x="7849628" y="5843398"/>
            <a:ext cx="10851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objective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2BC67F2B-7C85-4B6F-B9F8-0DE23F598459}"/>
              </a:ext>
            </a:extLst>
          </p:cNvPr>
          <p:cNvCxnSpPr/>
          <p:nvPr/>
        </p:nvCxnSpPr>
        <p:spPr>
          <a:xfrm flipH="1">
            <a:off x="7187038" y="5852325"/>
            <a:ext cx="586596" cy="0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996C0F4A-4F43-4119-B249-3F841A95C781}"/>
              </a:ext>
            </a:extLst>
          </p:cNvPr>
          <p:cNvCxnSpPr>
            <a:cxnSpLocks/>
          </p:cNvCxnSpPr>
          <p:nvPr/>
        </p:nvCxnSpPr>
        <p:spPr>
          <a:xfrm rot="10800000" flipH="1">
            <a:off x="7849628" y="5852325"/>
            <a:ext cx="586596" cy="0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42758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5D0A3E7-A65E-464D-AB37-5550A1C80A8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>
                <a:solidFill>
                  <a:srgbClr val="FFFFFF"/>
                </a:solidFill>
                <a:latin typeface="Arial"/>
              </a:rPr>
              <a:pPr/>
              <a:t>11</a:t>
            </a:fld>
            <a:endParaRPr lang="de-DE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DCE06A0-05A5-4006-9201-C96B198C30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n Behaviors Are </a:t>
            </a:r>
            <a:r>
              <a:rPr lang="en-US" dirty="0">
                <a:solidFill>
                  <a:schemeClr val="accent1"/>
                </a:solidFill>
              </a:rPr>
              <a:t>Ineffective</a:t>
            </a:r>
            <a:r>
              <a:rPr lang="en-US" dirty="0"/>
              <a:t>…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646890-670D-4744-A0E0-2B6465AFA171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8" name="Content Placeholder 5">
            <a:extLst>
              <a:ext uri="{FF2B5EF4-FFF2-40B4-BE49-F238E27FC236}">
                <a16:creationId xmlns:a16="http://schemas.microsoft.com/office/drawing/2014/main" id="{1F09439A-1495-4034-A01E-107F18CB161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2411790"/>
              </p:ext>
            </p:extLst>
          </p:nvPr>
        </p:nvGraphicFramePr>
        <p:xfrm>
          <a:off x="304801" y="1365879"/>
          <a:ext cx="11582399" cy="4815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45535">
                  <a:extLst>
                    <a:ext uri="{9D8B030D-6E8A-4147-A177-3AD203B41FA5}">
                      <a16:colId xmlns:a16="http://schemas.microsoft.com/office/drawing/2014/main" val="2050482698"/>
                    </a:ext>
                  </a:extLst>
                </a:gridCol>
                <a:gridCol w="4366983">
                  <a:extLst>
                    <a:ext uri="{9D8B030D-6E8A-4147-A177-3AD203B41FA5}">
                      <a16:colId xmlns:a16="http://schemas.microsoft.com/office/drawing/2014/main" val="3283442392"/>
                    </a:ext>
                  </a:extLst>
                </a:gridCol>
                <a:gridCol w="4569881">
                  <a:extLst>
                    <a:ext uri="{9D8B030D-6E8A-4147-A177-3AD203B41FA5}">
                      <a16:colId xmlns:a16="http://schemas.microsoft.com/office/drawing/2014/main" val="761868433"/>
                    </a:ext>
                  </a:extLst>
                </a:gridCol>
              </a:tblGrid>
              <a:tr h="378205"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chemeClr val="accent3">
                            <a:lumMod val="20000"/>
                            <a:lumOff val="80000"/>
                          </a:schemeClr>
                        </a:solidFill>
                        <a:latin typeface="Graphik Medium" panose="020B060303020206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+mj-lt"/>
                        </a:rPr>
                        <a:t>Low (Less than average)</a:t>
                      </a: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+mj-lt"/>
                        </a:rPr>
                        <a:t>High (Greater than average)</a:t>
                      </a: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4957002"/>
                  </a:ext>
                </a:extLst>
              </a:tr>
              <a:tr h="1097280">
                <a:tc>
                  <a:txBody>
                    <a:bodyPr/>
                    <a:lstStyle/>
                    <a:p>
                      <a:r>
                        <a:rPr lang="en-US" sz="2700" b="1" dirty="0">
                          <a:solidFill>
                            <a:schemeClr val="bg1"/>
                          </a:solidFill>
                          <a:latin typeface="+mj-lt"/>
                        </a:rPr>
                        <a:t>Dominance</a:t>
                      </a: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A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A84AB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defTabSz="914377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oids friction</a:t>
                      </a:r>
                    </a:p>
                    <a:p>
                      <a:pPr marL="171450" indent="-171450" defTabSz="914377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luctant to offer views</a:t>
                      </a:r>
                    </a:p>
                    <a:p>
                      <a:pPr marL="171450" indent="-171450" defTabSz="914377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 sensitive</a:t>
                      </a:r>
                    </a:p>
                    <a:p>
                      <a:pPr marL="171450" indent="-171450" defTabSz="914377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id</a:t>
                      </a:r>
                      <a:endParaRPr lang="en-US" sz="1600" b="1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A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A84AB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ominates</a:t>
                      </a:r>
                    </a:p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reatening</a:t>
                      </a:r>
                    </a:p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olerant of other views</a:t>
                      </a:r>
                    </a:p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rsues their own agenda</a:t>
                      </a: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A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A84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5455026"/>
                  </a:ext>
                </a:extLst>
              </a:tr>
              <a:tr h="1097280">
                <a:tc>
                  <a:txBody>
                    <a:bodyPr/>
                    <a:lstStyle/>
                    <a:p>
                      <a:r>
                        <a:rPr lang="en-US" sz="2700" b="1" dirty="0">
                          <a:solidFill>
                            <a:schemeClr val="bg1"/>
                          </a:solidFill>
                          <a:latin typeface="+mj-lt"/>
                        </a:rPr>
                        <a:t>Extraversion</a:t>
                      </a: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A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A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D7D3C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lunt</a:t>
                      </a:r>
                    </a:p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motionally disconnected</a:t>
                      </a:r>
                    </a:p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ard to get to know</a:t>
                      </a:r>
                    </a:p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ittle disclosure / little feedback</a:t>
                      </a: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A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A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D7D3C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t to the point</a:t>
                      </a:r>
                    </a:p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mage conscious</a:t>
                      </a:r>
                    </a:p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nrealistic</a:t>
                      </a:r>
                    </a:p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ction vs. results</a:t>
                      </a: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A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A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D7D3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4654319"/>
                  </a:ext>
                </a:extLst>
              </a:tr>
              <a:tr h="1097280">
                <a:tc>
                  <a:txBody>
                    <a:bodyPr/>
                    <a:lstStyle/>
                    <a:p>
                      <a:r>
                        <a:rPr lang="en-US" sz="2700" b="1" dirty="0">
                          <a:solidFill>
                            <a:schemeClr val="bg1"/>
                          </a:solidFill>
                          <a:latin typeface="+mj-lt"/>
                        </a:rPr>
                        <a:t>Patience</a:t>
                      </a: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A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A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98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nderestimates time</a:t>
                      </a:r>
                    </a:p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ires before aiming</a:t>
                      </a:r>
                    </a:p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eates tension</a:t>
                      </a:r>
                    </a:p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oses focus if it can’t be finished quickly</a:t>
                      </a: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A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A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98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lower to adapt</a:t>
                      </a:r>
                    </a:p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sistant to change</a:t>
                      </a:r>
                    </a:p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as difficulty setting priorities</a:t>
                      </a:r>
                    </a:p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active</a:t>
                      </a: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A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A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8107199"/>
                  </a:ext>
                </a:extLst>
              </a:tr>
              <a:tr h="1097280">
                <a:tc>
                  <a:txBody>
                    <a:bodyPr/>
                    <a:lstStyle/>
                    <a:p>
                      <a:r>
                        <a:rPr lang="en-US" sz="2700" b="1" dirty="0">
                          <a:solidFill>
                            <a:schemeClr val="bg1"/>
                          </a:solidFill>
                          <a:latin typeface="+mj-lt"/>
                        </a:rPr>
                        <a:t>Formality</a:t>
                      </a: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A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AA28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bellious of authority</a:t>
                      </a:r>
                    </a:p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acks focus</a:t>
                      </a:r>
                    </a:p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acks self-discipline</a:t>
                      </a:r>
                    </a:p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oesn’t tie ends together</a:t>
                      </a: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A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AA28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voids risk</a:t>
                      </a:r>
                    </a:p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flexible</a:t>
                      </a:r>
                    </a:p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manding</a:t>
                      </a:r>
                    </a:p>
                    <a:p>
                      <a:pPr marL="171450" indent="-171450" algn="l" defTabSz="914377" rtl="0" eaLnBrk="1" latinLnBrk="0" hangingPunct="1">
                        <a:spcBef>
                          <a:spcPts val="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1600" kern="1200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sorbed in details</a:t>
                      </a: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A3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AA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4973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74918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3D4AAB2-57F4-4EF3-BC1C-916B17AE5E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22EC7D-EA31-4613-AF89-5E3831E6F1D6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4D2D6C1-1DFF-4388-9BE4-A6379D0798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PI Reference profiles</a:t>
            </a:r>
          </a:p>
        </p:txBody>
      </p:sp>
      <p:sp>
        <p:nvSpPr>
          <p:cNvPr id="55" name="Title 7">
            <a:extLst>
              <a:ext uri="{FF2B5EF4-FFF2-40B4-BE49-F238E27FC236}">
                <a16:creationId xmlns:a16="http://schemas.microsoft.com/office/drawing/2014/main" id="{FA41FCF5-3D31-4EC9-96C2-E22CD2DB31D6}"/>
              </a:ext>
            </a:extLst>
          </p:cNvPr>
          <p:cNvSpPr txBox="1">
            <a:spLocks/>
          </p:cNvSpPr>
          <p:nvPr/>
        </p:nvSpPr>
        <p:spPr>
          <a:xfrm>
            <a:off x="415119" y="365125"/>
            <a:ext cx="1141749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4" name="Text Placeholder 15">
            <a:extLst>
              <a:ext uri="{FF2B5EF4-FFF2-40B4-BE49-F238E27FC236}">
                <a16:creationId xmlns:a16="http://schemas.microsoft.com/office/drawing/2014/main" id="{31FD1088-4DD1-44B7-AA78-9A820C1C0142}"/>
              </a:ext>
            </a:extLst>
          </p:cNvPr>
          <p:cNvSpPr txBox="1">
            <a:spLocks/>
          </p:cNvSpPr>
          <p:nvPr/>
        </p:nvSpPr>
        <p:spPr>
          <a:xfrm>
            <a:off x="6451185" y="1933670"/>
            <a:ext cx="3783012" cy="619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b="0" i="0" kern="1200">
                <a:solidFill>
                  <a:schemeClr val="tx1"/>
                </a:solidFill>
                <a:latin typeface="FS Graphik Light" panose="020B0403030202060203" pitchFamily="34" charset="77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FS Graphik" panose="020B0503030202060203" pitchFamily="34" charset="77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FS Graphik Light" panose="020B0403030202060203" pitchFamily="34" charset="77"/>
                <a:ea typeface="+mn-ea"/>
                <a:cs typeface="+mn-cs"/>
              </a:defRPr>
            </a:lvl3pPr>
            <a:lvl4pPr marL="228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FS Graphik Light" panose="020B0403030202060203" pitchFamily="34" charset="77"/>
                <a:ea typeface="+mn-ea"/>
                <a:cs typeface="+mn-cs"/>
              </a:defRPr>
            </a:lvl4pPr>
            <a:lvl5pPr marL="4635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FS Graphik Light" panose="020B0403030202060203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>
                <a:solidFill>
                  <a:schemeClr val="accent6"/>
                </a:solidFill>
                <a:latin typeface="Graphik TF TT Medium" panose="020B0603030202060203" pitchFamily="34" charset="0"/>
              </a:rPr>
              <a:t>Stabilizing</a:t>
            </a:r>
            <a:endParaRPr lang="en-US" sz="2000" b="1" dirty="0">
              <a:solidFill>
                <a:schemeClr val="accent6"/>
              </a:solidFill>
              <a:latin typeface="Graphik TF TT Medium" panose="020B0603030202060203" pitchFamily="34" charset="0"/>
            </a:endParaRPr>
          </a:p>
        </p:txBody>
      </p:sp>
      <p:pic>
        <p:nvPicPr>
          <p:cNvPr id="60" name="Picture 2">
            <a:extLst>
              <a:ext uri="{FF2B5EF4-FFF2-40B4-BE49-F238E27FC236}">
                <a16:creationId xmlns:a16="http://schemas.microsoft.com/office/drawing/2014/main" id="{0809E210-07A0-4858-995F-D185EB7BA5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215" y="2412651"/>
            <a:ext cx="971942" cy="971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4">
            <a:extLst>
              <a:ext uri="{FF2B5EF4-FFF2-40B4-BE49-F238E27FC236}">
                <a16:creationId xmlns:a16="http://schemas.microsoft.com/office/drawing/2014/main" id="{11620E85-12BF-4155-A6C9-8A2687CE27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5243" y="2412651"/>
            <a:ext cx="900418" cy="900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8">
            <a:extLst>
              <a:ext uri="{FF2B5EF4-FFF2-40B4-BE49-F238E27FC236}">
                <a16:creationId xmlns:a16="http://schemas.microsoft.com/office/drawing/2014/main" id="{0E9842A7-45F6-4445-84D3-406E50DC78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5243" y="3790311"/>
            <a:ext cx="900418" cy="900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10">
            <a:extLst>
              <a:ext uri="{FF2B5EF4-FFF2-40B4-BE49-F238E27FC236}">
                <a16:creationId xmlns:a16="http://schemas.microsoft.com/office/drawing/2014/main" id="{29028265-DB02-41B5-97AF-B28F2B8C4F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3049" y="5070012"/>
            <a:ext cx="971942" cy="988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12">
            <a:extLst>
              <a:ext uri="{FF2B5EF4-FFF2-40B4-BE49-F238E27FC236}">
                <a16:creationId xmlns:a16="http://schemas.microsoft.com/office/drawing/2014/main" id="{D5A4331C-5E4D-4C4D-908F-11A8781E08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7404" y="2427117"/>
            <a:ext cx="782093" cy="878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14">
            <a:extLst>
              <a:ext uri="{FF2B5EF4-FFF2-40B4-BE49-F238E27FC236}">
                <a16:creationId xmlns:a16="http://schemas.microsoft.com/office/drawing/2014/main" id="{9D930427-C109-44BC-B03F-A8D308E13C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6888" y="2427117"/>
            <a:ext cx="782094" cy="878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16">
            <a:extLst>
              <a:ext uri="{FF2B5EF4-FFF2-40B4-BE49-F238E27FC236}">
                <a16:creationId xmlns:a16="http://schemas.microsoft.com/office/drawing/2014/main" id="{2AD3B0A7-739D-4D21-9CC9-3897F82A54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3072" y="3819608"/>
            <a:ext cx="870756" cy="870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18">
            <a:extLst>
              <a:ext uri="{FF2B5EF4-FFF2-40B4-BE49-F238E27FC236}">
                <a16:creationId xmlns:a16="http://schemas.microsoft.com/office/drawing/2014/main" id="{08CF0033-B7E0-4579-9BF8-CC0CF03F51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6132" y="3815608"/>
            <a:ext cx="843606" cy="878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20">
            <a:extLst>
              <a:ext uri="{FF2B5EF4-FFF2-40B4-BE49-F238E27FC236}">
                <a16:creationId xmlns:a16="http://schemas.microsoft.com/office/drawing/2014/main" id="{DD0255B6-F490-4131-9431-0F38F1A7DD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7403" y="5139307"/>
            <a:ext cx="782094" cy="878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22">
            <a:extLst>
              <a:ext uri="{FF2B5EF4-FFF2-40B4-BE49-F238E27FC236}">
                <a16:creationId xmlns:a16="http://schemas.microsoft.com/office/drawing/2014/main" id="{FBCAA08B-8DAB-432D-BECC-1C7696722D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8557" y="5139308"/>
            <a:ext cx="878756" cy="878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24">
            <a:extLst>
              <a:ext uri="{FF2B5EF4-FFF2-40B4-BE49-F238E27FC236}">
                <a16:creationId xmlns:a16="http://schemas.microsoft.com/office/drawing/2014/main" id="{B213BED0-FBCB-49C4-9CA0-EC1A2E26E8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6620" y="2396439"/>
            <a:ext cx="992628" cy="909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26">
            <a:extLst>
              <a:ext uri="{FF2B5EF4-FFF2-40B4-BE49-F238E27FC236}">
                <a16:creationId xmlns:a16="http://schemas.microsoft.com/office/drawing/2014/main" id="{61178BCC-51B0-480E-9704-5B7D69143C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5105" y="2396439"/>
            <a:ext cx="992628" cy="992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28">
            <a:extLst>
              <a:ext uri="{FF2B5EF4-FFF2-40B4-BE49-F238E27FC236}">
                <a16:creationId xmlns:a16="http://schemas.microsoft.com/office/drawing/2014/main" id="{09A221BB-B12A-4710-98D6-7D3882CBA8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6620" y="3742984"/>
            <a:ext cx="992628" cy="992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30">
            <a:extLst>
              <a:ext uri="{FF2B5EF4-FFF2-40B4-BE49-F238E27FC236}">
                <a16:creationId xmlns:a16="http://schemas.microsoft.com/office/drawing/2014/main" id="{0B79384D-6C1D-49AD-8F7B-E314D20978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3425" y="3742984"/>
            <a:ext cx="1055989" cy="992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32">
            <a:extLst>
              <a:ext uri="{FF2B5EF4-FFF2-40B4-BE49-F238E27FC236}">
                <a16:creationId xmlns:a16="http://schemas.microsoft.com/office/drawing/2014/main" id="{381A2830-032C-45F6-BF36-E1DC384019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9271" y="2445961"/>
            <a:ext cx="885794" cy="885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34">
            <a:extLst>
              <a:ext uri="{FF2B5EF4-FFF2-40B4-BE49-F238E27FC236}">
                <a16:creationId xmlns:a16="http://schemas.microsoft.com/office/drawing/2014/main" id="{E964A199-3846-4FFC-B10E-6AC5DAD58A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7420" y="3815594"/>
            <a:ext cx="1002786" cy="885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TextBox 75">
            <a:extLst>
              <a:ext uri="{FF2B5EF4-FFF2-40B4-BE49-F238E27FC236}">
                <a16:creationId xmlns:a16="http://schemas.microsoft.com/office/drawing/2014/main" id="{BCCBE058-C058-4B2F-A227-0C1325AB8479}"/>
              </a:ext>
            </a:extLst>
          </p:cNvPr>
          <p:cNvSpPr txBox="1"/>
          <p:nvPr/>
        </p:nvSpPr>
        <p:spPr>
          <a:xfrm>
            <a:off x="390977" y="3423633"/>
            <a:ext cx="900418" cy="19648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Analyzer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9B94B53D-07B2-4B0C-9E43-C0568268575C}"/>
              </a:ext>
            </a:extLst>
          </p:cNvPr>
          <p:cNvSpPr txBox="1"/>
          <p:nvPr/>
        </p:nvSpPr>
        <p:spPr>
          <a:xfrm>
            <a:off x="2005243" y="3423633"/>
            <a:ext cx="900418" cy="19648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Controller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D99E02A3-A7FB-4C80-8E8F-8D0922354C50}"/>
              </a:ext>
            </a:extLst>
          </p:cNvPr>
          <p:cNvSpPr txBox="1"/>
          <p:nvPr/>
        </p:nvSpPr>
        <p:spPr>
          <a:xfrm>
            <a:off x="390977" y="4822060"/>
            <a:ext cx="900418" cy="19648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Specialist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3D2BF24B-F9B3-4613-83F3-A0BC4E2A3055}"/>
              </a:ext>
            </a:extLst>
          </p:cNvPr>
          <p:cNvSpPr txBox="1"/>
          <p:nvPr/>
        </p:nvSpPr>
        <p:spPr>
          <a:xfrm>
            <a:off x="2005243" y="4784585"/>
            <a:ext cx="900418" cy="19648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Strategist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1DDA0397-B7F6-406A-A367-F815E776C6C1}"/>
              </a:ext>
            </a:extLst>
          </p:cNvPr>
          <p:cNvSpPr txBox="1"/>
          <p:nvPr/>
        </p:nvSpPr>
        <p:spPr>
          <a:xfrm>
            <a:off x="1180051" y="6104452"/>
            <a:ext cx="900418" cy="19648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Venturer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362C8369-CC99-4FE5-B8F6-B60470442426}"/>
              </a:ext>
            </a:extLst>
          </p:cNvPr>
          <p:cNvSpPr txBox="1"/>
          <p:nvPr/>
        </p:nvSpPr>
        <p:spPr>
          <a:xfrm>
            <a:off x="3698241" y="3438099"/>
            <a:ext cx="900418" cy="19648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Altruist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AF4B53E-12F2-4B5F-8492-1CE2364DA51A}"/>
              </a:ext>
            </a:extLst>
          </p:cNvPr>
          <p:cNvSpPr txBox="1"/>
          <p:nvPr/>
        </p:nvSpPr>
        <p:spPr>
          <a:xfrm>
            <a:off x="5257726" y="3438099"/>
            <a:ext cx="900418" cy="19648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Captain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1C0F497E-7FF9-453E-B847-76C26803C09A}"/>
              </a:ext>
            </a:extLst>
          </p:cNvPr>
          <p:cNvSpPr txBox="1"/>
          <p:nvPr/>
        </p:nvSpPr>
        <p:spPr>
          <a:xfrm>
            <a:off x="3628096" y="4799051"/>
            <a:ext cx="1298522" cy="19648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Collaborator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E8C060A4-41FE-4BC5-A1AD-57AA1010900A}"/>
              </a:ext>
            </a:extLst>
          </p:cNvPr>
          <p:cNvSpPr txBox="1"/>
          <p:nvPr/>
        </p:nvSpPr>
        <p:spPr>
          <a:xfrm>
            <a:off x="5257726" y="4806179"/>
            <a:ext cx="900418" cy="182228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Maverick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D21BB96F-CDD5-48D2-9EFE-3B1C396F8025}"/>
              </a:ext>
            </a:extLst>
          </p:cNvPr>
          <p:cNvSpPr txBox="1"/>
          <p:nvPr/>
        </p:nvSpPr>
        <p:spPr>
          <a:xfrm>
            <a:off x="3698241" y="6118918"/>
            <a:ext cx="900418" cy="19648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Persuader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ADD5B82F-25AF-4B78-8753-13E563A8DD80}"/>
              </a:ext>
            </a:extLst>
          </p:cNvPr>
          <p:cNvSpPr txBox="1"/>
          <p:nvPr/>
        </p:nvSpPr>
        <p:spPr>
          <a:xfrm>
            <a:off x="5257726" y="6118918"/>
            <a:ext cx="900418" cy="19648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Promoter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D6793894-742A-4AF7-AE64-0013C3F10B7B}"/>
              </a:ext>
            </a:extLst>
          </p:cNvPr>
          <p:cNvSpPr txBox="1"/>
          <p:nvPr/>
        </p:nvSpPr>
        <p:spPr>
          <a:xfrm>
            <a:off x="6982725" y="3407421"/>
            <a:ext cx="900418" cy="19648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Adapter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560BA0FD-77C8-4327-A41E-FE0F245B11CC}"/>
              </a:ext>
            </a:extLst>
          </p:cNvPr>
          <p:cNvSpPr txBox="1"/>
          <p:nvPr/>
        </p:nvSpPr>
        <p:spPr>
          <a:xfrm>
            <a:off x="8661210" y="3407421"/>
            <a:ext cx="900418" cy="19648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Craftsman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4A0EF736-5BD2-48C2-A5AA-000A15D75152}"/>
              </a:ext>
            </a:extLst>
          </p:cNvPr>
          <p:cNvSpPr txBox="1"/>
          <p:nvPr/>
        </p:nvSpPr>
        <p:spPr>
          <a:xfrm>
            <a:off x="6982725" y="4783363"/>
            <a:ext cx="900418" cy="19648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Guardian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6345AF25-E872-46D4-A2F6-86CFE8697BD6}"/>
              </a:ext>
            </a:extLst>
          </p:cNvPr>
          <p:cNvSpPr txBox="1"/>
          <p:nvPr/>
        </p:nvSpPr>
        <p:spPr>
          <a:xfrm>
            <a:off x="8661210" y="4783363"/>
            <a:ext cx="900418" cy="19648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Operator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98E1C1BD-C31D-4A6A-8E26-2DA392489EEF}"/>
              </a:ext>
            </a:extLst>
          </p:cNvPr>
          <p:cNvSpPr txBox="1"/>
          <p:nvPr/>
        </p:nvSpPr>
        <p:spPr>
          <a:xfrm>
            <a:off x="10452060" y="3429090"/>
            <a:ext cx="1146135" cy="251898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Individualist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7DD62BF7-88A0-45E6-B33C-C7F4D804273F}"/>
              </a:ext>
            </a:extLst>
          </p:cNvPr>
          <p:cNvSpPr txBox="1"/>
          <p:nvPr/>
        </p:nvSpPr>
        <p:spPr>
          <a:xfrm>
            <a:off x="10558604" y="4798723"/>
            <a:ext cx="900418" cy="19648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Scholar</a:t>
            </a:r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947BDB70-D61F-4B4E-ACA2-5E467A91FA66}"/>
              </a:ext>
            </a:extLst>
          </p:cNvPr>
          <p:cNvCxnSpPr/>
          <p:nvPr/>
        </p:nvCxnSpPr>
        <p:spPr>
          <a:xfrm>
            <a:off x="3335971" y="1964793"/>
            <a:ext cx="0" cy="4607146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C0F4A62C-BF79-4E6A-BD07-569AE6DF888E}"/>
              </a:ext>
            </a:extLst>
          </p:cNvPr>
          <p:cNvCxnSpPr/>
          <p:nvPr/>
        </p:nvCxnSpPr>
        <p:spPr>
          <a:xfrm>
            <a:off x="6509383" y="1972741"/>
            <a:ext cx="0" cy="460714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 Placeholder 15">
            <a:extLst>
              <a:ext uri="{FF2B5EF4-FFF2-40B4-BE49-F238E27FC236}">
                <a16:creationId xmlns:a16="http://schemas.microsoft.com/office/drawing/2014/main" id="{2AD721AA-075C-4A54-A6BF-1BA8CCF79326}"/>
              </a:ext>
            </a:extLst>
          </p:cNvPr>
          <p:cNvSpPr txBox="1">
            <a:spLocks/>
          </p:cNvSpPr>
          <p:nvPr/>
        </p:nvSpPr>
        <p:spPr>
          <a:xfrm>
            <a:off x="3031171" y="1906850"/>
            <a:ext cx="3783012" cy="3352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635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Graphik TF TT Medium" panose="020B0603030202060203" pitchFamily="34" charset="0"/>
                <a:ea typeface="+mn-ea"/>
                <a:cs typeface="+mn-cs"/>
              </a:rPr>
              <a:t>Social</a:t>
            </a:r>
          </a:p>
        </p:txBody>
      </p:sp>
      <p:pic>
        <p:nvPicPr>
          <p:cNvPr id="96" name="Picture 6">
            <a:extLst>
              <a:ext uri="{FF2B5EF4-FFF2-40B4-BE49-F238E27FC236}">
                <a16:creationId xmlns:a16="http://schemas.microsoft.com/office/drawing/2014/main" id="{CC02176E-2213-408B-80BB-60D300690D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90199" y="3793756"/>
            <a:ext cx="901974" cy="968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03D272D5-DCFC-4D20-AFAA-5AC340858C11}"/>
              </a:ext>
            </a:extLst>
          </p:cNvPr>
          <p:cNvCxnSpPr/>
          <p:nvPr/>
        </p:nvCxnSpPr>
        <p:spPr>
          <a:xfrm>
            <a:off x="10035201" y="1972741"/>
            <a:ext cx="0" cy="460714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Box 97">
            <a:extLst>
              <a:ext uri="{FF2B5EF4-FFF2-40B4-BE49-F238E27FC236}">
                <a16:creationId xmlns:a16="http://schemas.microsoft.com/office/drawing/2014/main" id="{0886F491-45FE-4FA3-B063-8D2D79C4E691}"/>
              </a:ext>
            </a:extLst>
          </p:cNvPr>
          <p:cNvSpPr txBox="1"/>
          <p:nvPr/>
        </p:nvSpPr>
        <p:spPr>
          <a:xfrm rot="16200000">
            <a:off x="11183069" y="3961110"/>
            <a:ext cx="998325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en-US" sz="3200" b="1" dirty="0">
              <a:solidFill>
                <a:srgbClr val="D9AA28"/>
              </a:solidFill>
              <a:latin typeface="+mj-lt"/>
            </a:endParaRPr>
          </a:p>
        </p:txBody>
      </p:sp>
      <p:sp>
        <p:nvSpPr>
          <p:cNvPr id="99" name="Text Placeholder 15">
            <a:extLst>
              <a:ext uri="{FF2B5EF4-FFF2-40B4-BE49-F238E27FC236}">
                <a16:creationId xmlns:a16="http://schemas.microsoft.com/office/drawing/2014/main" id="{ADC470BE-AFD5-4B9C-B4CC-E2D774FA99B5}"/>
              </a:ext>
            </a:extLst>
          </p:cNvPr>
          <p:cNvSpPr txBox="1">
            <a:spLocks/>
          </p:cNvSpPr>
          <p:nvPr/>
        </p:nvSpPr>
        <p:spPr>
          <a:xfrm>
            <a:off x="-110642" y="1937807"/>
            <a:ext cx="3783012" cy="619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635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Graphik TF TT Medium" panose="020B0603030202060203" pitchFamily="34" charset="0"/>
                <a:ea typeface="+mn-ea"/>
                <a:cs typeface="+mn-cs"/>
              </a:rPr>
              <a:t>Analytical</a:t>
            </a:r>
          </a:p>
        </p:txBody>
      </p:sp>
      <p:sp>
        <p:nvSpPr>
          <p:cNvPr id="100" name="Text Placeholder 15">
            <a:extLst>
              <a:ext uri="{FF2B5EF4-FFF2-40B4-BE49-F238E27FC236}">
                <a16:creationId xmlns:a16="http://schemas.microsoft.com/office/drawing/2014/main" id="{C1BFA359-8875-46E3-A257-32924BE78741}"/>
              </a:ext>
            </a:extLst>
          </p:cNvPr>
          <p:cNvSpPr txBox="1">
            <a:spLocks/>
          </p:cNvSpPr>
          <p:nvPr/>
        </p:nvSpPr>
        <p:spPr>
          <a:xfrm>
            <a:off x="9117307" y="1946535"/>
            <a:ext cx="3783012" cy="3352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635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Graphik TF TT Medium" panose="020B0603030202060203" pitchFamily="34" charset="0"/>
                <a:ea typeface="+mn-ea"/>
                <a:cs typeface="+mn-cs"/>
              </a:rPr>
              <a:t>Persistent</a:t>
            </a:r>
          </a:p>
        </p:txBody>
      </p:sp>
    </p:spTree>
    <p:extLst>
      <p:ext uri="{BB962C8B-B14F-4D97-AF65-F5344CB8AC3E}">
        <p14:creationId xmlns:p14="http://schemas.microsoft.com/office/powerpoint/2010/main" val="41935578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981;p81">
            <a:extLst>
              <a:ext uri="{FF2B5EF4-FFF2-40B4-BE49-F238E27FC236}">
                <a16:creationId xmlns:a16="http://schemas.microsoft.com/office/drawing/2014/main" id="{16199AEE-BA55-4AD6-A6E6-65E4F7D0C40D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t="16492"/>
          <a:stretch/>
        </p:blipFill>
        <p:spPr>
          <a:xfrm>
            <a:off x="1514475" y="1238250"/>
            <a:ext cx="9753599" cy="5000625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982;p81">
            <a:extLst>
              <a:ext uri="{FF2B5EF4-FFF2-40B4-BE49-F238E27FC236}">
                <a16:creationId xmlns:a16="http://schemas.microsoft.com/office/drawing/2014/main" id="{4BB5E2D4-96E2-4D42-9539-E8037ECD5405}"/>
              </a:ext>
            </a:extLst>
          </p:cNvPr>
          <p:cNvSpPr txBox="1"/>
          <p:nvPr/>
        </p:nvSpPr>
        <p:spPr>
          <a:xfrm>
            <a:off x="2615712" y="289974"/>
            <a:ext cx="7773325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ctr">
              <a:buClr>
                <a:srgbClr val="000000"/>
              </a:buClr>
              <a:buSzPts val="600"/>
            </a:pPr>
            <a:r>
              <a:rPr lang="en" sz="2000" dirty="0">
                <a:solidFill>
                  <a:srgbClr val="000000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Jan 2017 - Feb 2020 </a:t>
            </a:r>
          </a:p>
          <a:p>
            <a:pPr algn="ctr">
              <a:buClr>
                <a:srgbClr val="000000"/>
              </a:buClr>
              <a:buSzPts val="600"/>
            </a:pPr>
            <a:r>
              <a:rPr lang="en" sz="2000" b="1" dirty="0">
                <a:solidFill>
                  <a:schemeClr val="dk1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8,209,623</a:t>
            </a:r>
            <a:r>
              <a:rPr lang="en" sz="2000" dirty="0">
                <a:solidFill>
                  <a:srgbClr val="000000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 Behavioral Assessments Taken</a:t>
            </a:r>
            <a:endParaRPr sz="2000" dirty="0">
              <a:solidFill>
                <a:srgbClr val="000000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sp>
        <p:nvSpPr>
          <p:cNvPr id="6" name="Google Shape;982;p81">
            <a:extLst>
              <a:ext uri="{FF2B5EF4-FFF2-40B4-BE49-F238E27FC236}">
                <a16:creationId xmlns:a16="http://schemas.microsoft.com/office/drawing/2014/main" id="{BF34C833-196D-48B1-919B-4C3A8DDB71B6}"/>
              </a:ext>
            </a:extLst>
          </p:cNvPr>
          <p:cNvSpPr txBox="1"/>
          <p:nvPr/>
        </p:nvSpPr>
        <p:spPr>
          <a:xfrm>
            <a:off x="2504611" y="96024"/>
            <a:ext cx="7773325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ctr">
              <a:buClr>
                <a:srgbClr val="000000"/>
              </a:buClr>
              <a:buSzPts val="600"/>
            </a:pPr>
            <a:r>
              <a:rPr lang="en" sz="2800" dirty="0">
                <a:solidFill>
                  <a:schemeClr val="bg1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Jan 2017 - Feb 2020 </a:t>
            </a:r>
          </a:p>
          <a:p>
            <a:pPr algn="ctr">
              <a:buClr>
                <a:srgbClr val="000000"/>
              </a:buClr>
              <a:buSzPts val="600"/>
            </a:pPr>
            <a:r>
              <a:rPr lang="en" sz="2800" b="1" dirty="0">
                <a:solidFill>
                  <a:schemeClr val="bg1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8,209,623</a:t>
            </a:r>
            <a:r>
              <a:rPr lang="en" sz="2800" dirty="0">
                <a:solidFill>
                  <a:schemeClr val="bg1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 Behavioral Assessments Taken</a:t>
            </a:r>
            <a:endParaRPr sz="2800" dirty="0">
              <a:solidFill>
                <a:schemeClr val="bg1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7256417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70026D8-6A08-4231-8A4C-137BDD55FB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CC0EB0-295A-4B4C-86AD-E8073DD34EC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01625" y="1143000"/>
            <a:ext cx="11585575" cy="4572000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800" dirty="0"/>
              <a:t>Improved Hiring Decision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800" dirty="0"/>
              <a:t>Improved On-Boarding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800" dirty="0"/>
              <a:t>Increase Speed of Succes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800" dirty="0"/>
              <a:t>Improved Self-Awarenes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800" dirty="0"/>
              <a:t>Collection of People Data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800" dirty="0"/>
              <a:t>Improved Employee Development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800" dirty="0"/>
              <a:t>Improved Team Performance &amp; Execution of Goal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800" dirty="0"/>
              <a:t>Diversity of Thought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800" dirty="0"/>
              <a:t>Understanding of Organizational Cultur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sz="28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B244B81-F0A2-4707-B603-E6310D6117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625" y="77797"/>
            <a:ext cx="11582400" cy="829056"/>
          </a:xfrm>
        </p:spPr>
        <p:txBody>
          <a:bodyPr/>
          <a:lstStyle/>
          <a:p>
            <a:r>
              <a:rPr lang="en-US" dirty="0"/>
              <a:t>Expected Outcomes from the </a:t>
            </a:r>
            <a:r>
              <a:rPr lang="en-US" dirty="0">
                <a:solidFill>
                  <a:schemeClr val="tx2"/>
                </a:solidFill>
              </a:rPr>
              <a:t>PI</a:t>
            </a:r>
            <a:r>
              <a:rPr lang="en-US" dirty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9241579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061AD5F-F342-DA49-9FF1-4366491BEB7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22EC7D-EA31-4613-AF89-5E3831E6F1D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F18F5B7-52A7-C144-A564-7F872E21EF1C}"/>
              </a:ext>
            </a:extLst>
          </p:cNvPr>
          <p:cNvSpPr txBox="1"/>
          <p:nvPr/>
        </p:nvSpPr>
        <p:spPr>
          <a:xfrm>
            <a:off x="381000" y="2349500"/>
            <a:ext cx="5207000" cy="45085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300" b="1" i="0" u="none" baseline="0" dirty="0">
                <a:solidFill>
                  <a:schemeClr val="tx2"/>
                </a:solidFill>
                <a:latin typeface="Arial" panose="020B0604020202020204" pitchFamily="34" charset="0"/>
              </a:rPr>
              <a:t>THE PREDICTIVE INDEX (PI)</a:t>
            </a:r>
          </a:p>
          <a:p>
            <a:pPr algn="l" rtl="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4000" b="1" dirty="0">
                <a:solidFill>
                  <a:schemeClr val="accent6"/>
                </a:solidFill>
                <a:latin typeface="Arial" panose="020B0604020202020204" pitchFamily="34" charset="0"/>
              </a:rPr>
              <a:t>Drives </a:t>
            </a:r>
            <a:br>
              <a:rPr lang="en-US" sz="4000" b="1" dirty="0">
                <a:solidFill>
                  <a:schemeClr val="accent6"/>
                </a:solidFill>
                <a:latin typeface="Arial" panose="020B0604020202020204" pitchFamily="34" charset="0"/>
              </a:rPr>
            </a:br>
            <a:r>
              <a:rPr lang="en-US" sz="4000" b="1" dirty="0">
                <a:solidFill>
                  <a:schemeClr val="accent6"/>
                </a:solidFill>
                <a:latin typeface="Arial" panose="020B0604020202020204" pitchFamily="34" charset="0"/>
              </a:rPr>
              <a:t>Measured </a:t>
            </a:r>
            <a:br>
              <a:rPr lang="en-US" sz="4000" b="1" dirty="0">
                <a:solidFill>
                  <a:schemeClr val="accent6"/>
                </a:solidFill>
                <a:latin typeface="Arial" panose="020B0604020202020204" pitchFamily="34" charset="0"/>
              </a:rPr>
            </a:br>
            <a:r>
              <a:rPr lang="en-US" sz="4000" b="1" dirty="0">
                <a:solidFill>
                  <a:schemeClr val="accent6"/>
                </a:solidFill>
                <a:latin typeface="Arial" panose="020B0604020202020204" pitchFamily="34" charset="0"/>
              </a:rPr>
              <a:t>by the </a:t>
            </a:r>
            <a:r>
              <a:rPr lang="en-US" sz="40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PI</a:t>
            </a:r>
            <a:endParaRPr lang="en-US" sz="4000" b="1" i="0" u="none" baseline="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C20F896-1F8A-F947-8A54-B221FF5A5652}"/>
              </a:ext>
            </a:extLst>
          </p:cNvPr>
          <p:cNvGrpSpPr/>
          <p:nvPr/>
        </p:nvGrpSpPr>
        <p:grpSpPr>
          <a:xfrm>
            <a:off x="4838700" y="825500"/>
            <a:ext cx="7086600" cy="939800"/>
            <a:chOff x="5194300" y="838200"/>
            <a:chExt cx="6556323" cy="939800"/>
          </a:xfrm>
          <a:solidFill>
            <a:srgbClr val="00A3D7"/>
          </a:solidFill>
        </p:grpSpPr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EEF19C9D-1172-1C4E-BA2F-398E464921FF}"/>
                </a:ext>
              </a:extLst>
            </p:cNvPr>
            <p:cNvSpPr/>
            <p:nvPr/>
          </p:nvSpPr>
          <p:spPr>
            <a:xfrm>
              <a:off x="5194300" y="1235954"/>
              <a:ext cx="1020088" cy="142394"/>
            </a:xfrm>
            <a:custGeom>
              <a:avLst/>
              <a:gdLst>
                <a:gd name="connsiteX0" fmla="*/ 754856 w 752475"/>
                <a:gd name="connsiteY0" fmla="*/ 0 h 142393"/>
                <a:gd name="connsiteX1" fmla="*/ 0 w 752475"/>
                <a:gd name="connsiteY1" fmla="*/ 73570 h 142393"/>
                <a:gd name="connsiteX2" fmla="*/ 754856 w 752475"/>
                <a:gd name="connsiteY2" fmla="*/ 147140 h 142393"/>
                <a:gd name="connsiteX3" fmla="*/ 754856 w 752475"/>
                <a:gd name="connsiteY3" fmla="*/ 0 h 142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2475" h="142393">
                  <a:moveTo>
                    <a:pt x="754856" y="0"/>
                  </a:moveTo>
                  <a:lnTo>
                    <a:pt x="0" y="73570"/>
                  </a:lnTo>
                  <a:lnTo>
                    <a:pt x="754856" y="147140"/>
                  </a:lnTo>
                  <a:lnTo>
                    <a:pt x="75485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C46F083-D4BE-7D4F-AC97-39C9E4557271}"/>
                </a:ext>
              </a:extLst>
            </p:cNvPr>
            <p:cNvSpPr/>
            <p:nvPr/>
          </p:nvSpPr>
          <p:spPr>
            <a:xfrm>
              <a:off x="6301547" y="1156403"/>
              <a:ext cx="1020088" cy="303774"/>
            </a:xfrm>
            <a:custGeom>
              <a:avLst/>
              <a:gdLst>
                <a:gd name="connsiteX0" fmla="*/ 0 w 752475"/>
                <a:gd name="connsiteY0" fmla="*/ 232672 h 303773"/>
                <a:gd name="connsiteX1" fmla="*/ 754856 w 752475"/>
                <a:gd name="connsiteY1" fmla="*/ 306242 h 303773"/>
                <a:gd name="connsiteX2" fmla="*/ 754856 w 752475"/>
                <a:gd name="connsiteY2" fmla="*/ 0 h 303773"/>
                <a:gd name="connsiteX3" fmla="*/ 0 w 752475"/>
                <a:gd name="connsiteY3" fmla="*/ 73570 h 303773"/>
                <a:gd name="connsiteX4" fmla="*/ 0 w 752475"/>
                <a:gd name="connsiteY4" fmla="*/ 232672 h 303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303773">
                  <a:moveTo>
                    <a:pt x="0" y="232672"/>
                  </a:moveTo>
                  <a:lnTo>
                    <a:pt x="754856" y="306242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232672"/>
                  </a:lnTo>
                  <a:close/>
                </a:path>
              </a:pathLst>
            </a:custGeom>
            <a:solidFill>
              <a:srgbClr val="4CBF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F5C6E496-5641-0E41-8CB1-4DB6974945C5}"/>
                </a:ext>
              </a:extLst>
            </p:cNvPr>
            <p:cNvSpPr/>
            <p:nvPr/>
          </p:nvSpPr>
          <p:spPr>
            <a:xfrm>
              <a:off x="7408794" y="1076852"/>
              <a:ext cx="1020088" cy="465154"/>
            </a:xfrm>
            <a:custGeom>
              <a:avLst/>
              <a:gdLst>
                <a:gd name="connsiteX0" fmla="*/ 0 w 752475"/>
                <a:gd name="connsiteY0" fmla="*/ 391773 h 465153"/>
                <a:gd name="connsiteX1" fmla="*/ 754856 w 752475"/>
                <a:gd name="connsiteY1" fmla="*/ 465343 h 465153"/>
                <a:gd name="connsiteX2" fmla="*/ 754856 w 752475"/>
                <a:gd name="connsiteY2" fmla="*/ 0 h 465153"/>
                <a:gd name="connsiteX3" fmla="*/ 0 w 752475"/>
                <a:gd name="connsiteY3" fmla="*/ 73570 h 465153"/>
                <a:gd name="connsiteX4" fmla="*/ 0 w 752475"/>
                <a:gd name="connsiteY4" fmla="*/ 391773 h 465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465153">
                  <a:moveTo>
                    <a:pt x="0" y="391773"/>
                  </a:moveTo>
                  <a:lnTo>
                    <a:pt x="754856" y="465343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391773"/>
                  </a:lnTo>
                  <a:close/>
                </a:path>
              </a:pathLst>
            </a:custGeom>
            <a:solidFill>
              <a:srgbClr val="99DB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0C63EF6F-1288-D64E-A91A-5082DEFA0E5C}"/>
                </a:ext>
              </a:extLst>
            </p:cNvPr>
            <p:cNvSpPr/>
            <p:nvPr/>
          </p:nvSpPr>
          <p:spPr>
            <a:xfrm>
              <a:off x="8516040" y="997301"/>
              <a:ext cx="1020088" cy="617040"/>
            </a:xfrm>
            <a:custGeom>
              <a:avLst/>
              <a:gdLst>
                <a:gd name="connsiteX0" fmla="*/ 0 w 752475"/>
                <a:gd name="connsiteY0" fmla="*/ 550875 h 617040"/>
                <a:gd name="connsiteX1" fmla="*/ 754856 w 752475"/>
                <a:gd name="connsiteY1" fmla="*/ 624445 h 617040"/>
                <a:gd name="connsiteX2" fmla="*/ 754856 w 752475"/>
                <a:gd name="connsiteY2" fmla="*/ 0 h 617040"/>
                <a:gd name="connsiteX3" fmla="*/ 0 w 752475"/>
                <a:gd name="connsiteY3" fmla="*/ 73570 h 617040"/>
                <a:gd name="connsiteX4" fmla="*/ 0 w 752475"/>
                <a:gd name="connsiteY4" fmla="*/ 550875 h 617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617040">
                  <a:moveTo>
                    <a:pt x="0" y="550875"/>
                  </a:moveTo>
                  <a:lnTo>
                    <a:pt x="754856" y="624445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550875"/>
                  </a:lnTo>
                  <a:close/>
                </a:path>
              </a:pathLst>
            </a:custGeom>
            <a:solidFill>
              <a:srgbClr val="99DB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E479CB06-CD4C-1644-8F4E-DD390AFF66FE}"/>
                </a:ext>
              </a:extLst>
            </p:cNvPr>
            <p:cNvSpPr/>
            <p:nvPr/>
          </p:nvSpPr>
          <p:spPr>
            <a:xfrm>
              <a:off x="9623288" y="917751"/>
              <a:ext cx="1020088" cy="778420"/>
            </a:xfrm>
            <a:custGeom>
              <a:avLst/>
              <a:gdLst>
                <a:gd name="connsiteX0" fmla="*/ 0 w 752475"/>
                <a:gd name="connsiteY0" fmla="*/ 709976 h 778420"/>
                <a:gd name="connsiteX1" fmla="*/ 754856 w 752475"/>
                <a:gd name="connsiteY1" fmla="*/ 783546 h 778420"/>
                <a:gd name="connsiteX2" fmla="*/ 754856 w 752475"/>
                <a:gd name="connsiteY2" fmla="*/ 0 h 778420"/>
                <a:gd name="connsiteX3" fmla="*/ 0 w 752475"/>
                <a:gd name="connsiteY3" fmla="*/ 73570 h 778420"/>
                <a:gd name="connsiteX4" fmla="*/ 0 w 752475"/>
                <a:gd name="connsiteY4" fmla="*/ 709976 h 778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778420">
                  <a:moveTo>
                    <a:pt x="0" y="709976"/>
                  </a:moveTo>
                  <a:lnTo>
                    <a:pt x="754856" y="783546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709976"/>
                  </a:lnTo>
                  <a:close/>
                </a:path>
              </a:pathLst>
            </a:custGeom>
            <a:solidFill>
              <a:srgbClr val="4CBF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DFFDE978-D056-494F-82D9-7632F49AE4B8}"/>
                </a:ext>
              </a:extLst>
            </p:cNvPr>
            <p:cNvSpPr/>
            <p:nvPr/>
          </p:nvSpPr>
          <p:spPr>
            <a:xfrm>
              <a:off x="10730535" y="838200"/>
              <a:ext cx="1020088" cy="939800"/>
            </a:xfrm>
            <a:custGeom>
              <a:avLst/>
              <a:gdLst>
                <a:gd name="connsiteX0" fmla="*/ 0 w 752475"/>
                <a:gd name="connsiteY0" fmla="*/ 869173 h 939800"/>
                <a:gd name="connsiteX1" fmla="*/ 754856 w 752475"/>
                <a:gd name="connsiteY1" fmla="*/ 942648 h 939800"/>
                <a:gd name="connsiteX2" fmla="*/ 754856 w 752475"/>
                <a:gd name="connsiteY2" fmla="*/ 0 h 939800"/>
                <a:gd name="connsiteX3" fmla="*/ 0 w 752475"/>
                <a:gd name="connsiteY3" fmla="*/ 73570 h 939800"/>
                <a:gd name="connsiteX4" fmla="*/ 0 w 752475"/>
                <a:gd name="connsiteY4" fmla="*/ 869173 h 93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939800">
                  <a:moveTo>
                    <a:pt x="0" y="869173"/>
                  </a:moveTo>
                  <a:lnTo>
                    <a:pt x="754856" y="942648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8691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en-US" sz="4000" b="1" dirty="0"/>
                <a:t>A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49A76B2-2161-9E4F-819E-7C2E17AF5935}"/>
              </a:ext>
            </a:extLst>
          </p:cNvPr>
          <p:cNvGrpSpPr/>
          <p:nvPr/>
        </p:nvGrpSpPr>
        <p:grpSpPr>
          <a:xfrm>
            <a:off x="4838700" y="2355145"/>
            <a:ext cx="7086600" cy="939800"/>
            <a:chOff x="5194300" y="838200"/>
            <a:chExt cx="6556323" cy="939800"/>
          </a:xfrm>
          <a:solidFill>
            <a:srgbClr val="6D7D3C"/>
          </a:solidFill>
        </p:grpSpPr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6E9B6C8A-4DA9-2040-BBF9-89E66737B22F}"/>
                </a:ext>
              </a:extLst>
            </p:cNvPr>
            <p:cNvSpPr/>
            <p:nvPr/>
          </p:nvSpPr>
          <p:spPr>
            <a:xfrm>
              <a:off x="5194300" y="1235954"/>
              <a:ext cx="1020088" cy="142394"/>
            </a:xfrm>
            <a:custGeom>
              <a:avLst/>
              <a:gdLst>
                <a:gd name="connsiteX0" fmla="*/ 754856 w 752475"/>
                <a:gd name="connsiteY0" fmla="*/ 0 h 142393"/>
                <a:gd name="connsiteX1" fmla="*/ 0 w 752475"/>
                <a:gd name="connsiteY1" fmla="*/ 73570 h 142393"/>
                <a:gd name="connsiteX2" fmla="*/ 754856 w 752475"/>
                <a:gd name="connsiteY2" fmla="*/ 147140 h 142393"/>
                <a:gd name="connsiteX3" fmla="*/ 754856 w 752475"/>
                <a:gd name="connsiteY3" fmla="*/ 0 h 142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2475" h="142393">
                  <a:moveTo>
                    <a:pt x="754856" y="0"/>
                  </a:moveTo>
                  <a:lnTo>
                    <a:pt x="0" y="73570"/>
                  </a:lnTo>
                  <a:lnTo>
                    <a:pt x="754856" y="147140"/>
                  </a:lnTo>
                  <a:lnTo>
                    <a:pt x="75485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5DF9F96F-4188-E342-A5F0-7B79C61C1816}"/>
                </a:ext>
              </a:extLst>
            </p:cNvPr>
            <p:cNvSpPr/>
            <p:nvPr/>
          </p:nvSpPr>
          <p:spPr>
            <a:xfrm>
              <a:off x="6301547" y="1156403"/>
              <a:ext cx="1020088" cy="303774"/>
            </a:xfrm>
            <a:custGeom>
              <a:avLst/>
              <a:gdLst>
                <a:gd name="connsiteX0" fmla="*/ 0 w 752475"/>
                <a:gd name="connsiteY0" fmla="*/ 232672 h 303773"/>
                <a:gd name="connsiteX1" fmla="*/ 754856 w 752475"/>
                <a:gd name="connsiteY1" fmla="*/ 306242 h 303773"/>
                <a:gd name="connsiteX2" fmla="*/ 754856 w 752475"/>
                <a:gd name="connsiteY2" fmla="*/ 0 h 303773"/>
                <a:gd name="connsiteX3" fmla="*/ 0 w 752475"/>
                <a:gd name="connsiteY3" fmla="*/ 73570 h 303773"/>
                <a:gd name="connsiteX4" fmla="*/ 0 w 752475"/>
                <a:gd name="connsiteY4" fmla="*/ 232672 h 303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303773">
                  <a:moveTo>
                    <a:pt x="0" y="232672"/>
                  </a:moveTo>
                  <a:lnTo>
                    <a:pt x="754856" y="306242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232672"/>
                  </a:lnTo>
                  <a:close/>
                </a:path>
              </a:pathLst>
            </a:custGeom>
            <a:solidFill>
              <a:srgbClr val="909D6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D3772CC2-CC36-A14C-8B9B-3D69D1BE7AFB}"/>
                </a:ext>
              </a:extLst>
            </p:cNvPr>
            <p:cNvSpPr/>
            <p:nvPr/>
          </p:nvSpPr>
          <p:spPr>
            <a:xfrm>
              <a:off x="7408794" y="1076852"/>
              <a:ext cx="1020088" cy="465154"/>
            </a:xfrm>
            <a:custGeom>
              <a:avLst/>
              <a:gdLst>
                <a:gd name="connsiteX0" fmla="*/ 0 w 752475"/>
                <a:gd name="connsiteY0" fmla="*/ 391773 h 465153"/>
                <a:gd name="connsiteX1" fmla="*/ 754856 w 752475"/>
                <a:gd name="connsiteY1" fmla="*/ 465343 h 465153"/>
                <a:gd name="connsiteX2" fmla="*/ 754856 w 752475"/>
                <a:gd name="connsiteY2" fmla="*/ 0 h 465153"/>
                <a:gd name="connsiteX3" fmla="*/ 0 w 752475"/>
                <a:gd name="connsiteY3" fmla="*/ 73570 h 465153"/>
                <a:gd name="connsiteX4" fmla="*/ 0 w 752475"/>
                <a:gd name="connsiteY4" fmla="*/ 391773 h 465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465153">
                  <a:moveTo>
                    <a:pt x="0" y="391773"/>
                  </a:moveTo>
                  <a:lnTo>
                    <a:pt x="754856" y="465343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391773"/>
                  </a:lnTo>
                  <a:close/>
                </a:path>
              </a:pathLst>
            </a:custGeom>
            <a:solidFill>
              <a:srgbClr val="C7CE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45F1B09-C840-2A41-B79A-56BB5218E0A0}"/>
                </a:ext>
              </a:extLst>
            </p:cNvPr>
            <p:cNvSpPr/>
            <p:nvPr/>
          </p:nvSpPr>
          <p:spPr>
            <a:xfrm>
              <a:off x="8516040" y="997301"/>
              <a:ext cx="1020088" cy="617040"/>
            </a:xfrm>
            <a:custGeom>
              <a:avLst/>
              <a:gdLst>
                <a:gd name="connsiteX0" fmla="*/ 0 w 752475"/>
                <a:gd name="connsiteY0" fmla="*/ 550875 h 617040"/>
                <a:gd name="connsiteX1" fmla="*/ 754856 w 752475"/>
                <a:gd name="connsiteY1" fmla="*/ 624445 h 617040"/>
                <a:gd name="connsiteX2" fmla="*/ 754856 w 752475"/>
                <a:gd name="connsiteY2" fmla="*/ 0 h 617040"/>
                <a:gd name="connsiteX3" fmla="*/ 0 w 752475"/>
                <a:gd name="connsiteY3" fmla="*/ 73570 h 617040"/>
                <a:gd name="connsiteX4" fmla="*/ 0 w 752475"/>
                <a:gd name="connsiteY4" fmla="*/ 550875 h 617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617040">
                  <a:moveTo>
                    <a:pt x="0" y="550875"/>
                  </a:moveTo>
                  <a:lnTo>
                    <a:pt x="754856" y="624445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550875"/>
                  </a:lnTo>
                  <a:close/>
                </a:path>
              </a:pathLst>
            </a:custGeom>
            <a:solidFill>
              <a:srgbClr val="C7CE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E481350E-9D66-D842-B6D9-11CDDE83659E}"/>
                </a:ext>
              </a:extLst>
            </p:cNvPr>
            <p:cNvSpPr/>
            <p:nvPr/>
          </p:nvSpPr>
          <p:spPr>
            <a:xfrm>
              <a:off x="9623288" y="917751"/>
              <a:ext cx="1020088" cy="778420"/>
            </a:xfrm>
            <a:custGeom>
              <a:avLst/>
              <a:gdLst>
                <a:gd name="connsiteX0" fmla="*/ 0 w 752475"/>
                <a:gd name="connsiteY0" fmla="*/ 709976 h 778420"/>
                <a:gd name="connsiteX1" fmla="*/ 754856 w 752475"/>
                <a:gd name="connsiteY1" fmla="*/ 783546 h 778420"/>
                <a:gd name="connsiteX2" fmla="*/ 754856 w 752475"/>
                <a:gd name="connsiteY2" fmla="*/ 0 h 778420"/>
                <a:gd name="connsiteX3" fmla="*/ 0 w 752475"/>
                <a:gd name="connsiteY3" fmla="*/ 73570 h 778420"/>
                <a:gd name="connsiteX4" fmla="*/ 0 w 752475"/>
                <a:gd name="connsiteY4" fmla="*/ 709976 h 778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778420">
                  <a:moveTo>
                    <a:pt x="0" y="709976"/>
                  </a:moveTo>
                  <a:lnTo>
                    <a:pt x="754856" y="783546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709976"/>
                  </a:lnTo>
                  <a:close/>
                </a:path>
              </a:pathLst>
            </a:custGeom>
            <a:solidFill>
              <a:srgbClr val="909D6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3BB10521-0761-C240-8402-8D5D9270458A}"/>
                </a:ext>
              </a:extLst>
            </p:cNvPr>
            <p:cNvSpPr/>
            <p:nvPr/>
          </p:nvSpPr>
          <p:spPr>
            <a:xfrm>
              <a:off x="10730535" y="838200"/>
              <a:ext cx="1020088" cy="939800"/>
            </a:xfrm>
            <a:custGeom>
              <a:avLst/>
              <a:gdLst>
                <a:gd name="connsiteX0" fmla="*/ 0 w 752475"/>
                <a:gd name="connsiteY0" fmla="*/ 869173 h 939800"/>
                <a:gd name="connsiteX1" fmla="*/ 754856 w 752475"/>
                <a:gd name="connsiteY1" fmla="*/ 942648 h 939800"/>
                <a:gd name="connsiteX2" fmla="*/ 754856 w 752475"/>
                <a:gd name="connsiteY2" fmla="*/ 0 h 939800"/>
                <a:gd name="connsiteX3" fmla="*/ 0 w 752475"/>
                <a:gd name="connsiteY3" fmla="*/ 73570 h 939800"/>
                <a:gd name="connsiteX4" fmla="*/ 0 w 752475"/>
                <a:gd name="connsiteY4" fmla="*/ 869173 h 93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939800">
                  <a:moveTo>
                    <a:pt x="0" y="869173"/>
                  </a:moveTo>
                  <a:lnTo>
                    <a:pt x="754856" y="942648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8691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en-US" sz="4000" b="1" dirty="0"/>
                <a:t>B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A750F550-8EF7-8747-A88A-877EE0F10D78}"/>
              </a:ext>
            </a:extLst>
          </p:cNvPr>
          <p:cNvGrpSpPr/>
          <p:nvPr/>
        </p:nvGrpSpPr>
        <p:grpSpPr>
          <a:xfrm>
            <a:off x="4838700" y="3901722"/>
            <a:ext cx="7086600" cy="939800"/>
            <a:chOff x="5194300" y="838200"/>
            <a:chExt cx="6556323" cy="939800"/>
          </a:xfrm>
          <a:solidFill>
            <a:srgbClr val="00B098"/>
          </a:solidFill>
        </p:grpSpPr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35AC3B26-0630-644C-8DD4-548950ED57D0}"/>
                </a:ext>
              </a:extLst>
            </p:cNvPr>
            <p:cNvSpPr/>
            <p:nvPr/>
          </p:nvSpPr>
          <p:spPr>
            <a:xfrm>
              <a:off x="5194300" y="1235954"/>
              <a:ext cx="1020088" cy="142394"/>
            </a:xfrm>
            <a:custGeom>
              <a:avLst/>
              <a:gdLst>
                <a:gd name="connsiteX0" fmla="*/ 754856 w 752475"/>
                <a:gd name="connsiteY0" fmla="*/ 0 h 142393"/>
                <a:gd name="connsiteX1" fmla="*/ 0 w 752475"/>
                <a:gd name="connsiteY1" fmla="*/ 73570 h 142393"/>
                <a:gd name="connsiteX2" fmla="*/ 754856 w 752475"/>
                <a:gd name="connsiteY2" fmla="*/ 147140 h 142393"/>
                <a:gd name="connsiteX3" fmla="*/ 754856 w 752475"/>
                <a:gd name="connsiteY3" fmla="*/ 0 h 142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2475" h="142393">
                  <a:moveTo>
                    <a:pt x="754856" y="0"/>
                  </a:moveTo>
                  <a:lnTo>
                    <a:pt x="0" y="73570"/>
                  </a:lnTo>
                  <a:lnTo>
                    <a:pt x="754856" y="147140"/>
                  </a:lnTo>
                  <a:lnTo>
                    <a:pt x="75485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49F00B4B-865F-CC4C-ACE6-08E1587E9638}"/>
                </a:ext>
              </a:extLst>
            </p:cNvPr>
            <p:cNvSpPr/>
            <p:nvPr/>
          </p:nvSpPr>
          <p:spPr>
            <a:xfrm>
              <a:off x="6301547" y="1156403"/>
              <a:ext cx="1020088" cy="303774"/>
            </a:xfrm>
            <a:custGeom>
              <a:avLst/>
              <a:gdLst>
                <a:gd name="connsiteX0" fmla="*/ 0 w 752475"/>
                <a:gd name="connsiteY0" fmla="*/ 232672 h 303773"/>
                <a:gd name="connsiteX1" fmla="*/ 754856 w 752475"/>
                <a:gd name="connsiteY1" fmla="*/ 306242 h 303773"/>
                <a:gd name="connsiteX2" fmla="*/ 754856 w 752475"/>
                <a:gd name="connsiteY2" fmla="*/ 0 h 303773"/>
                <a:gd name="connsiteX3" fmla="*/ 0 w 752475"/>
                <a:gd name="connsiteY3" fmla="*/ 73570 h 303773"/>
                <a:gd name="connsiteX4" fmla="*/ 0 w 752475"/>
                <a:gd name="connsiteY4" fmla="*/ 232672 h 303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303773">
                  <a:moveTo>
                    <a:pt x="0" y="232672"/>
                  </a:moveTo>
                  <a:lnTo>
                    <a:pt x="754856" y="306242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232672"/>
                  </a:lnTo>
                  <a:close/>
                </a:path>
              </a:pathLst>
            </a:custGeom>
            <a:solidFill>
              <a:srgbClr val="66D0C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45918C5-D448-3F4D-9B08-D7D2941158A9}"/>
                </a:ext>
              </a:extLst>
            </p:cNvPr>
            <p:cNvSpPr/>
            <p:nvPr/>
          </p:nvSpPr>
          <p:spPr>
            <a:xfrm>
              <a:off x="7408794" y="1076852"/>
              <a:ext cx="1020088" cy="465154"/>
            </a:xfrm>
            <a:custGeom>
              <a:avLst/>
              <a:gdLst>
                <a:gd name="connsiteX0" fmla="*/ 0 w 752475"/>
                <a:gd name="connsiteY0" fmla="*/ 391773 h 465153"/>
                <a:gd name="connsiteX1" fmla="*/ 754856 w 752475"/>
                <a:gd name="connsiteY1" fmla="*/ 465343 h 465153"/>
                <a:gd name="connsiteX2" fmla="*/ 754856 w 752475"/>
                <a:gd name="connsiteY2" fmla="*/ 0 h 465153"/>
                <a:gd name="connsiteX3" fmla="*/ 0 w 752475"/>
                <a:gd name="connsiteY3" fmla="*/ 73570 h 465153"/>
                <a:gd name="connsiteX4" fmla="*/ 0 w 752475"/>
                <a:gd name="connsiteY4" fmla="*/ 391773 h 465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465153">
                  <a:moveTo>
                    <a:pt x="0" y="391773"/>
                  </a:moveTo>
                  <a:lnTo>
                    <a:pt x="754856" y="465343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391773"/>
                  </a:lnTo>
                  <a:close/>
                </a:path>
              </a:pathLst>
            </a:custGeom>
            <a:solidFill>
              <a:srgbClr val="B3E7E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88D54968-52CA-914C-8153-62A671F6D45A}"/>
                </a:ext>
              </a:extLst>
            </p:cNvPr>
            <p:cNvSpPr/>
            <p:nvPr/>
          </p:nvSpPr>
          <p:spPr>
            <a:xfrm>
              <a:off x="8516040" y="997301"/>
              <a:ext cx="1020088" cy="617040"/>
            </a:xfrm>
            <a:custGeom>
              <a:avLst/>
              <a:gdLst>
                <a:gd name="connsiteX0" fmla="*/ 0 w 752475"/>
                <a:gd name="connsiteY0" fmla="*/ 550875 h 617040"/>
                <a:gd name="connsiteX1" fmla="*/ 754856 w 752475"/>
                <a:gd name="connsiteY1" fmla="*/ 624445 h 617040"/>
                <a:gd name="connsiteX2" fmla="*/ 754856 w 752475"/>
                <a:gd name="connsiteY2" fmla="*/ 0 h 617040"/>
                <a:gd name="connsiteX3" fmla="*/ 0 w 752475"/>
                <a:gd name="connsiteY3" fmla="*/ 73570 h 617040"/>
                <a:gd name="connsiteX4" fmla="*/ 0 w 752475"/>
                <a:gd name="connsiteY4" fmla="*/ 550875 h 617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617040">
                  <a:moveTo>
                    <a:pt x="0" y="550875"/>
                  </a:moveTo>
                  <a:lnTo>
                    <a:pt x="754856" y="624445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550875"/>
                  </a:lnTo>
                  <a:close/>
                </a:path>
              </a:pathLst>
            </a:custGeom>
            <a:solidFill>
              <a:srgbClr val="B3E7E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18FCE44C-99F2-EE48-B2A8-76FE1DEFE3E3}"/>
                </a:ext>
              </a:extLst>
            </p:cNvPr>
            <p:cNvSpPr/>
            <p:nvPr/>
          </p:nvSpPr>
          <p:spPr>
            <a:xfrm>
              <a:off x="9623288" y="917751"/>
              <a:ext cx="1020088" cy="778420"/>
            </a:xfrm>
            <a:custGeom>
              <a:avLst/>
              <a:gdLst>
                <a:gd name="connsiteX0" fmla="*/ 0 w 752475"/>
                <a:gd name="connsiteY0" fmla="*/ 709976 h 778420"/>
                <a:gd name="connsiteX1" fmla="*/ 754856 w 752475"/>
                <a:gd name="connsiteY1" fmla="*/ 783546 h 778420"/>
                <a:gd name="connsiteX2" fmla="*/ 754856 w 752475"/>
                <a:gd name="connsiteY2" fmla="*/ 0 h 778420"/>
                <a:gd name="connsiteX3" fmla="*/ 0 w 752475"/>
                <a:gd name="connsiteY3" fmla="*/ 73570 h 778420"/>
                <a:gd name="connsiteX4" fmla="*/ 0 w 752475"/>
                <a:gd name="connsiteY4" fmla="*/ 709976 h 778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778420">
                  <a:moveTo>
                    <a:pt x="0" y="709976"/>
                  </a:moveTo>
                  <a:lnTo>
                    <a:pt x="754856" y="783546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709976"/>
                  </a:lnTo>
                  <a:close/>
                </a:path>
              </a:pathLst>
            </a:custGeom>
            <a:solidFill>
              <a:srgbClr val="66D0C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28A87A9B-83A4-6343-82E7-4BAF2D94B396}"/>
                </a:ext>
              </a:extLst>
            </p:cNvPr>
            <p:cNvSpPr/>
            <p:nvPr/>
          </p:nvSpPr>
          <p:spPr>
            <a:xfrm>
              <a:off x="10730535" y="838200"/>
              <a:ext cx="1020088" cy="939800"/>
            </a:xfrm>
            <a:custGeom>
              <a:avLst/>
              <a:gdLst>
                <a:gd name="connsiteX0" fmla="*/ 0 w 752475"/>
                <a:gd name="connsiteY0" fmla="*/ 869173 h 939800"/>
                <a:gd name="connsiteX1" fmla="*/ 754856 w 752475"/>
                <a:gd name="connsiteY1" fmla="*/ 942648 h 939800"/>
                <a:gd name="connsiteX2" fmla="*/ 754856 w 752475"/>
                <a:gd name="connsiteY2" fmla="*/ 0 h 939800"/>
                <a:gd name="connsiteX3" fmla="*/ 0 w 752475"/>
                <a:gd name="connsiteY3" fmla="*/ 73570 h 939800"/>
                <a:gd name="connsiteX4" fmla="*/ 0 w 752475"/>
                <a:gd name="connsiteY4" fmla="*/ 869173 h 93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939800">
                  <a:moveTo>
                    <a:pt x="0" y="869173"/>
                  </a:moveTo>
                  <a:lnTo>
                    <a:pt x="754856" y="942648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8691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en-US" sz="4000" b="1" dirty="0"/>
                <a:t>C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870FF6CC-A94F-6C45-B09B-2FF5308DAAE7}"/>
              </a:ext>
            </a:extLst>
          </p:cNvPr>
          <p:cNvGrpSpPr/>
          <p:nvPr/>
        </p:nvGrpSpPr>
        <p:grpSpPr>
          <a:xfrm>
            <a:off x="4838700" y="5462411"/>
            <a:ext cx="7086600" cy="939800"/>
            <a:chOff x="5194300" y="838200"/>
            <a:chExt cx="6556323" cy="939800"/>
          </a:xfrm>
          <a:solidFill>
            <a:srgbClr val="D9AA28"/>
          </a:solidFill>
        </p:grpSpPr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B2AC870F-5255-5E47-94A3-67282EF3F9B7}"/>
                </a:ext>
              </a:extLst>
            </p:cNvPr>
            <p:cNvSpPr/>
            <p:nvPr/>
          </p:nvSpPr>
          <p:spPr>
            <a:xfrm>
              <a:off x="5194300" y="1235954"/>
              <a:ext cx="1020088" cy="142394"/>
            </a:xfrm>
            <a:custGeom>
              <a:avLst/>
              <a:gdLst>
                <a:gd name="connsiteX0" fmla="*/ 754856 w 752475"/>
                <a:gd name="connsiteY0" fmla="*/ 0 h 142393"/>
                <a:gd name="connsiteX1" fmla="*/ 0 w 752475"/>
                <a:gd name="connsiteY1" fmla="*/ 73570 h 142393"/>
                <a:gd name="connsiteX2" fmla="*/ 754856 w 752475"/>
                <a:gd name="connsiteY2" fmla="*/ 147140 h 142393"/>
                <a:gd name="connsiteX3" fmla="*/ 754856 w 752475"/>
                <a:gd name="connsiteY3" fmla="*/ 0 h 142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2475" h="142393">
                  <a:moveTo>
                    <a:pt x="754856" y="0"/>
                  </a:moveTo>
                  <a:lnTo>
                    <a:pt x="0" y="73570"/>
                  </a:lnTo>
                  <a:lnTo>
                    <a:pt x="754856" y="147140"/>
                  </a:lnTo>
                  <a:lnTo>
                    <a:pt x="75485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B8CF2360-9151-B746-B5B8-44E696ECF1BF}"/>
                </a:ext>
              </a:extLst>
            </p:cNvPr>
            <p:cNvSpPr/>
            <p:nvPr/>
          </p:nvSpPr>
          <p:spPr>
            <a:xfrm>
              <a:off x="6301547" y="1156403"/>
              <a:ext cx="1020088" cy="303774"/>
            </a:xfrm>
            <a:custGeom>
              <a:avLst/>
              <a:gdLst>
                <a:gd name="connsiteX0" fmla="*/ 0 w 752475"/>
                <a:gd name="connsiteY0" fmla="*/ 232672 h 303773"/>
                <a:gd name="connsiteX1" fmla="*/ 754856 w 752475"/>
                <a:gd name="connsiteY1" fmla="*/ 306242 h 303773"/>
                <a:gd name="connsiteX2" fmla="*/ 754856 w 752475"/>
                <a:gd name="connsiteY2" fmla="*/ 0 h 303773"/>
                <a:gd name="connsiteX3" fmla="*/ 0 w 752475"/>
                <a:gd name="connsiteY3" fmla="*/ 73570 h 303773"/>
                <a:gd name="connsiteX4" fmla="*/ 0 w 752475"/>
                <a:gd name="connsiteY4" fmla="*/ 232672 h 303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303773">
                  <a:moveTo>
                    <a:pt x="0" y="232672"/>
                  </a:moveTo>
                  <a:lnTo>
                    <a:pt x="754856" y="306242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232672"/>
                  </a:lnTo>
                  <a:close/>
                </a:path>
              </a:pathLst>
            </a:custGeom>
            <a:solidFill>
              <a:srgbClr val="E2BB5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183A4F63-CD9C-3F48-A1C2-8B5BA19BEE3B}"/>
                </a:ext>
              </a:extLst>
            </p:cNvPr>
            <p:cNvSpPr/>
            <p:nvPr/>
          </p:nvSpPr>
          <p:spPr>
            <a:xfrm>
              <a:off x="7408794" y="1076852"/>
              <a:ext cx="1020088" cy="465154"/>
            </a:xfrm>
            <a:custGeom>
              <a:avLst/>
              <a:gdLst>
                <a:gd name="connsiteX0" fmla="*/ 0 w 752475"/>
                <a:gd name="connsiteY0" fmla="*/ 391773 h 465153"/>
                <a:gd name="connsiteX1" fmla="*/ 754856 w 752475"/>
                <a:gd name="connsiteY1" fmla="*/ 465343 h 465153"/>
                <a:gd name="connsiteX2" fmla="*/ 754856 w 752475"/>
                <a:gd name="connsiteY2" fmla="*/ 0 h 465153"/>
                <a:gd name="connsiteX3" fmla="*/ 0 w 752475"/>
                <a:gd name="connsiteY3" fmla="*/ 73570 h 465153"/>
                <a:gd name="connsiteX4" fmla="*/ 0 w 752475"/>
                <a:gd name="connsiteY4" fmla="*/ 391773 h 465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465153">
                  <a:moveTo>
                    <a:pt x="0" y="391773"/>
                  </a:moveTo>
                  <a:lnTo>
                    <a:pt x="754856" y="465343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391773"/>
                  </a:lnTo>
                  <a:close/>
                </a:path>
              </a:pathLst>
            </a:custGeom>
            <a:solidFill>
              <a:srgbClr val="F0DE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5366B48A-D802-AB43-8FC9-E861147F6700}"/>
                </a:ext>
              </a:extLst>
            </p:cNvPr>
            <p:cNvSpPr/>
            <p:nvPr/>
          </p:nvSpPr>
          <p:spPr>
            <a:xfrm>
              <a:off x="8516040" y="997301"/>
              <a:ext cx="1020088" cy="617040"/>
            </a:xfrm>
            <a:custGeom>
              <a:avLst/>
              <a:gdLst>
                <a:gd name="connsiteX0" fmla="*/ 0 w 752475"/>
                <a:gd name="connsiteY0" fmla="*/ 550875 h 617040"/>
                <a:gd name="connsiteX1" fmla="*/ 754856 w 752475"/>
                <a:gd name="connsiteY1" fmla="*/ 624445 h 617040"/>
                <a:gd name="connsiteX2" fmla="*/ 754856 w 752475"/>
                <a:gd name="connsiteY2" fmla="*/ 0 h 617040"/>
                <a:gd name="connsiteX3" fmla="*/ 0 w 752475"/>
                <a:gd name="connsiteY3" fmla="*/ 73570 h 617040"/>
                <a:gd name="connsiteX4" fmla="*/ 0 w 752475"/>
                <a:gd name="connsiteY4" fmla="*/ 550875 h 617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617040">
                  <a:moveTo>
                    <a:pt x="0" y="550875"/>
                  </a:moveTo>
                  <a:lnTo>
                    <a:pt x="754856" y="624445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550875"/>
                  </a:lnTo>
                  <a:close/>
                </a:path>
              </a:pathLst>
            </a:custGeom>
            <a:solidFill>
              <a:srgbClr val="F0DE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A63BFBAA-7AAB-1747-A072-58BF176E5A0C}"/>
                </a:ext>
              </a:extLst>
            </p:cNvPr>
            <p:cNvSpPr/>
            <p:nvPr/>
          </p:nvSpPr>
          <p:spPr>
            <a:xfrm>
              <a:off x="9623288" y="917751"/>
              <a:ext cx="1020088" cy="778420"/>
            </a:xfrm>
            <a:custGeom>
              <a:avLst/>
              <a:gdLst>
                <a:gd name="connsiteX0" fmla="*/ 0 w 752475"/>
                <a:gd name="connsiteY0" fmla="*/ 709976 h 778420"/>
                <a:gd name="connsiteX1" fmla="*/ 754856 w 752475"/>
                <a:gd name="connsiteY1" fmla="*/ 783546 h 778420"/>
                <a:gd name="connsiteX2" fmla="*/ 754856 w 752475"/>
                <a:gd name="connsiteY2" fmla="*/ 0 h 778420"/>
                <a:gd name="connsiteX3" fmla="*/ 0 w 752475"/>
                <a:gd name="connsiteY3" fmla="*/ 73570 h 778420"/>
                <a:gd name="connsiteX4" fmla="*/ 0 w 752475"/>
                <a:gd name="connsiteY4" fmla="*/ 709976 h 778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778420">
                  <a:moveTo>
                    <a:pt x="0" y="709976"/>
                  </a:moveTo>
                  <a:lnTo>
                    <a:pt x="754856" y="783546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709976"/>
                  </a:lnTo>
                  <a:close/>
                </a:path>
              </a:pathLst>
            </a:custGeom>
            <a:solidFill>
              <a:srgbClr val="E2BB5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9B0A655E-64B4-834D-B856-27830D76CB7A}"/>
                </a:ext>
              </a:extLst>
            </p:cNvPr>
            <p:cNvSpPr/>
            <p:nvPr/>
          </p:nvSpPr>
          <p:spPr>
            <a:xfrm>
              <a:off x="10730535" y="838200"/>
              <a:ext cx="1020088" cy="939800"/>
            </a:xfrm>
            <a:custGeom>
              <a:avLst/>
              <a:gdLst>
                <a:gd name="connsiteX0" fmla="*/ 0 w 752475"/>
                <a:gd name="connsiteY0" fmla="*/ 869173 h 939800"/>
                <a:gd name="connsiteX1" fmla="*/ 754856 w 752475"/>
                <a:gd name="connsiteY1" fmla="*/ 942648 h 939800"/>
                <a:gd name="connsiteX2" fmla="*/ 754856 w 752475"/>
                <a:gd name="connsiteY2" fmla="*/ 0 h 939800"/>
                <a:gd name="connsiteX3" fmla="*/ 0 w 752475"/>
                <a:gd name="connsiteY3" fmla="*/ 73570 h 939800"/>
                <a:gd name="connsiteX4" fmla="*/ 0 w 752475"/>
                <a:gd name="connsiteY4" fmla="*/ 869173 h 93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939800">
                  <a:moveTo>
                    <a:pt x="0" y="869173"/>
                  </a:moveTo>
                  <a:lnTo>
                    <a:pt x="754856" y="942648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8691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en-US" sz="4000" b="1" dirty="0"/>
                <a:t>D</a:t>
              </a: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EB3866D2-7E6B-304F-8440-827FD95DC8C3}"/>
              </a:ext>
            </a:extLst>
          </p:cNvPr>
          <p:cNvSpPr txBox="1"/>
          <p:nvPr/>
        </p:nvSpPr>
        <p:spPr>
          <a:xfrm>
            <a:off x="4851578" y="228600"/>
            <a:ext cx="6387921" cy="6771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i="0" u="none" baseline="0" dirty="0">
                <a:solidFill>
                  <a:srgbClr val="00A3D7"/>
                </a:solidFill>
                <a:latin typeface="Arial" panose="020B0604020202020204" pitchFamily="34" charset="0"/>
              </a:rPr>
              <a:t>Dominance</a:t>
            </a:r>
          </a:p>
          <a:p>
            <a:r>
              <a:rPr lang="en-US" sz="1600" dirty="0">
                <a:solidFill>
                  <a:schemeClr val="bg1"/>
                </a:solidFill>
              </a:rPr>
              <a:t>The drive to exert one’s influence on people or events</a:t>
            </a:r>
            <a:endParaRPr lang="en-US" sz="1600" b="1" i="0" u="none" baseline="0" dirty="0">
              <a:solidFill>
                <a:srgbClr val="00A3D7"/>
              </a:solidFill>
              <a:latin typeface="Arial" panose="020B0604020202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203277A-78F5-6E48-A956-1ED7EFCDF594}"/>
              </a:ext>
            </a:extLst>
          </p:cNvPr>
          <p:cNvSpPr txBox="1"/>
          <p:nvPr/>
        </p:nvSpPr>
        <p:spPr>
          <a:xfrm>
            <a:off x="4859180" y="1847145"/>
            <a:ext cx="6812119" cy="6771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i="0" u="none" baseline="0" dirty="0">
                <a:solidFill>
                  <a:srgbClr val="6D7D3C"/>
                </a:solidFill>
                <a:latin typeface="Arial" panose="020B0604020202020204" pitchFamily="34" charset="0"/>
              </a:rPr>
              <a:t>Extraversion</a:t>
            </a:r>
          </a:p>
          <a:p>
            <a:r>
              <a:rPr lang="en-US" sz="1600" dirty="0">
                <a:solidFill>
                  <a:schemeClr val="bg1"/>
                </a:solidFill>
              </a:rPr>
              <a:t>The drive for social interaction with others</a:t>
            </a:r>
            <a:endParaRPr lang="en-US" sz="1600" b="1" i="0" u="none" baseline="0" dirty="0">
              <a:solidFill>
                <a:srgbClr val="6D7D3C"/>
              </a:solidFill>
              <a:latin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1A41000-EBA4-B64E-92AF-8BE2B3B4783E}"/>
              </a:ext>
            </a:extLst>
          </p:cNvPr>
          <p:cNvSpPr txBox="1"/>
          <p:nvPr/>
        </p:nvSpPr>
        <p:spPr>
          <a:xfrm>
            <a:off x="4799034" y="3342922"/>
            <a:ext cx="3455966" cy="6771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i="0" u="none" baseline="0" dirty="0">
                <a:solidFill>
                  <a:srgbClr val="00B098"/>
                </a:solidFill>
                <a:latin typeface="Arial" panose="020B0604020202020204" pitchFamily="34" charset="0"/>
              </a:rPr>
              <a:t>Patience</a:t>
            </a:r>
          </a:p>
          <a:p>
            <a:r>
              <a:rPr lang="en-US" sz="1600" dirty="0">
                <a:solidFill>
                  <a:schemeClr val="bg1"/>
                </a:solidFill>
              </a:rPr>
              <a:t>The drive for consistency and stability</a:t>
            </a:r>
            <a:endParaRPr lang="en-US" sz="1600" b="1" i="0" u="none" baseline="0" dirty="0">
              <a:solidFill>
                <a:srgbClr val="00B098"/>
              </a:solidFill>
              <a:latin typeface="Arial" panose="020B0604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E8C0922-7EBB-A443-A852-BC8AA8546C05}"/>
              </a:ext>
            </a:extLst>
          </p:cNvPr>
          <p:cNvSpPr txBox="1"/>
          <p:nvPr/>
        </p:nvSpPr>
        <p:spPr>
          <a:xfrm>
            <a:off x="4841516" y="4903611"/>
            <a:ext cx="5826483" cy="6771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800" b="1" i="0" u="none" baseline="0" dirty="0">
                <a:solidFill>
                  <a:srgbClr val="D9AA28"/>
                </a:solidFill>
                <a:latin typeface="Arial" panose="020B0604020202020204" pitchFamily="34" charset="0"/>
              </a:rPr>
              <a:t>Formality</a:t>
            </a:r>
          </a:p>
          <a:p>
            <a:r>
              <a:rPr lang="en-US" sz="1600" dirty="0">
                <a:solidFill>
                  <a:schemeClr val="bg1"/>
                </a:solidFill>
              </a:rPr>
              <a:t>The drive to conform to rules and structure</a:t>
            </a:r>
            <a:endParaRPr lang="en-US" sz="1600" b="1" i="0" u="none" baseline="0" dirty="0">
              <a:solidFill>
                <a:srgbClr val="D9AA2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59265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B3BC891-8803-484D-92A3-5D021DDB5FD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54"/>
            <a:fld id="{2022EC7D-EA31-4613-AF89-5E3831E6F1D6}" type="slidenum">
              <a:rPr lang="de-DE">
                <a:solidFill>
                  <a:srgbClr val="FFFFFF"/>
                </a:solidFill>
                <a:latin typeface="Arial"/>
              </a:rPr>
              <a:pPr defTabSz="914354"/>
              <a:t>4</a:t>
            </a:fld>
            <a:endParaRPr lang="de-DE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679B908-BE58-44CE-B63C-2008E09F41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ding a PI </a:t>
            </a:r>
            <a:r>
              <a:rPr lang="en-US" dirty="0">
                <a:solidFill>
                  <a:schemeClr val="accent1"/>
                </a:solidFill>
              </a:rPr>
              <a:t>Pattern</a:t>
            </a:r>
          </a:p>
        </p:txBody>
      </p:sp>
      <p:pic>
        <p:nvPicPr>
          <p:cNvPr id="6" name="Picture 2" descr="https://lh5.googleusercontent.com/qDsymFTcNn5BCrMzjCoYmOn6IPR9d4_99Yam3uEuvSoES5P3aOIDenmvdisvIsOK07WBF7aXeOkm4dKlWeTfofomIVItvT7iidTCVwaj_mTSFHX53Y9WEXZRwvaeSrJMiTjU6iIPMK0">
            <a:extLst>
              <a:ext uri="{FF2B5EF4-FFF2-40B4-BE49-F238E27FC236}">
                <a16:creationId xmlns:a16="http://schemas.microsoft.com/office/drawing/2014/main" id="{C4019698-CC66-40FC-B474-AFA3FD847E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79" b="10520"/>
          <a:stretch/>
        </p:blipFill>
        <p:spPr bwMode="auto">
          <a:xfrm>
            <a:off x="2172936" y="4011916"/>
            <a:ext cx="7416789" cy="1657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43CFCCA-214F-4C6D-9FDB-9A98AB9ADA21}"/>
              </a:ext>
            </a:extLst>
          </p:cNvPr>
          <p:cNvSpPr txBox="1"/>
          <p:nvPr/>
        </p:nvSpPr>
        <p:spPr>
          <a:xfrm>
            <a:off x="4933064" y="5812873"/>
            <a:ext cx="1896533" cy="40640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defTabSz="812705"/>
            <a:r>
              <a:rPr lang="en-US" sz="1777" dirty="0">
                <a:solidFill>
                  <a:srgbClr val="FFFFFF"/>
                </a:solidFill>
                <a:latin typeface="Arial"/>
              </a:rPr>
              <a:t>0= Balanced Nor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EA2417C-2C3E-484B-8ADE-43500598A9F8}"/>
              </a:ext>
            </a:extLst>
          </p:cNvPr>
          <p:cNvSpPr txBox="1"/>
          <p:nvPr/>
        </p:nvSpPr>
        <p:spPr>
          <a:xfrm>
            <a:off x="5316447" y="1536576"/>
            <a:ext cx="2181988" cy="54186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defTabSz="812705"/>
            <a:r>
              <a:rPr lang="en-US" sz="1867" u="sng" dirty="0">
                <a:solidFill>
                  <a:srgbClr val="FFFFFF"/>
                </a:solidFill>
                <a:latin typeface="Arial"/>
              </a:rPr>
              <a:t>Situation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3FA8713-4891-4208-8856-4444ED1105B7}"/>
              </a:ext>
            </a:extLst>
          </p:cNvPr>
          <p:cNvSpPr txBox="1"/>
          <p:nvPr/>
        </p:nvSpPr>
        <p:spPr>
          <a:xfrm>
            <a:off x="3087324" y="2197512"/>
            <a:ext cx="2162633" cy="54186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 defTabSz="812705"/>
            <a:r>
              <a:rPr lang="en-US" sz="1867" u="sng" dirty="0">
                <a:solidFill>
                  <a:srgbClr val="FFFFFF"/>
                </a:solidFill>
                <a:latin typeface="Arial"/>
              </a:rPr>
              <a:t>Predictab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622535A-C052-4F39-9889-679E546E1C29}"/>
              </a:ext>
            </a:extLst>
          </p:cNvPr>
          <p:cNvSpPr txBox="1"/>
          <p:nvPr/>
        </p:nvSpPr>
        <p:spPr>
          <a:xfrm>
            <a:off x="6502402" y="2191205"/>
            <a:ext cx="2162633" cy="54186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 defTabSz="812705"/>
            <a:r>
              <a:rPr lang="en-US" sz="1867" u="sng" dirty="0">
                <a:solidFill>
                  <a:srgbClr val="FFFFFF"/>
                </a:solidFill>
                <a:latin typeface="Arial"/>
              </a:rPr>
              <a:t>Predictab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7041A16-7355-401A-922A-40E7EF0BF3A1}"/>
              </a:ext>
            </a:extLst>
          </p:cNvPr>
          <p:cNvSpPr txBox="1"/>
          <p:nvPr/>
        </p:nvSpPr>
        <p:spPr>
          <a:xfrm>
            <a:off x="1901369" y="2756312"/>
            <a:ext cx="2162633" cy="54186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 defTabSz="812705"/>
            <a:r>
              <a:rPr lang="en-US" sz="1867" u="sng" dirty="0">
                <a:solidFill>
                  <a:srgbClr val="FFFFFF"/>
                </a:solidFill>
                <a:latin typeface="Arial"/>
              </a:rPr>
              <a:t>Very</a:t>
            </a:r>
          </a:p>
          <a:p>
            <a:pPr algn="ctr" defTabSz="812705"/>
            <a:r>
              <a:rPr lang="en-US" sz="1867" u="sng" dirty="0">
                <a:solidFill>
                  <a:srgbClr val="FFFFFF"/>
                </a:solidFill>
                <a:latin typeface="Arial"/>
              </a:rPr>
              <a:t>Predictab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5C86124-FD07-42BE-9452-182DAF04A53E}"/>
              </a:ext>
            </a:extLst>
          </p:cNvPr>
          <p:cNvSpPr txBox="1"/>
          <p:nvPr/>
        </p:nvSpPr>
        <p:spPr>
          <a:xfrm>
            <a:off x="7924802" y="2722249"/>
            <a:ext cx="2162633" cy="54186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ctr" defTabSz="812705"/>
            <a:r>
              <a:rPr lang="en-US" sz="1867" u="sng" dirty="0">
                <a:solidFill>
                  <a:srgbClr val="FFFFFF"/>
                </a:solidFill>
                <a:latin typeface="Arial"/>
              </a:rPr>
              <a:t>Very</a:t>
            </a:r>
          </a:p>
          <a:p>
            <a:pPr algn="ctr" defTabSz="812705"/>
            <a:r>
              <a:rPr lang="en-US" sz="1867" u="sng" dirty="0">
                <a:solidFill>
                  <a:srgbClr val="FFFFFF"/>
                </a:solidFill>
                <a:latin typeface="Arial"/>
              </a:rPr>
              <a:t>Predictab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D72DC2D-8FC2-4F3F-B053-D6D06DEB7957}"/>
              </a:ext>
            </a:extLst>
          </p:cNvPr>
          <p:cNvSpPr txBox="1"/>
          <p:nvPr/>
        </p:nvSpPr>
        <p:spPr>
          <a:xfrm>
            <a:off x="8816532" y="5812875"/>
            <a:ext cx="1083733" cy="729279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defTabSz="812705"/>
            <a:r>
              <a:rPr lang="en-US" sz="1956" dirty="0">
                <a:solidFill>
                  <a:srgbClr val="FFFFFF"/>
                </a:solidFill>
                <a:latin typeface="Arial"/>
              </a:rPr>
              <a:t>High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F391E3F-22BC-4ED4-AFAA-A5773A01A5D3}"/>
              </a:ext>
            </a:extLst>
          </p:cNvPr>
          <p:cNvSpPr txBox="1"/>
          <p:nvPr/>
        </p:nvSpPr>
        <p:spPr>
          <a:xfrm>
            <a:off x="2269684" y="5782001"/>
            <a:ext cx="1083733" cy="729279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defTabSz="812705"/>
            <a:r>
              <a:rPr lang="en-US" sz="1956" dirty="0">
                <a:solidFill>
                  <a:srgbClr val="FFFFFF"/>
                </a:solidFill>
                <a:latin typeface="Arial"/>
              </a:rPr>
              <a:t>Lower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2C8E6101-1489-477D-B0AC-F5B0C817B549}"/>
              </a:ext>
            </a:extLst>
          </p:cNvPr>
          <p:cNvCxnSpPr/>
          <p:nvPr/>
        </p:nvCxnSpPr>
        <p:spPr>
          <a:xfrm flipV="1">
            <a:off x="5283200" y="1914092"/>
            <a:ext cx="0" cy="203200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6B0014CE-9406-4715-976A-DA91DE49C693}"/>
              </a:ext>
            </a:extLst>
          </p:cNvPr>
          <p:cNvCxnSpPr/>
          <p:nvPr/>
        </p:nvCxnSpPr>
        <p:spPr>
          <a:xfrm flipV="1">
            <a:off x="6366933" y="1914092"/>
            <a:ext cx="0" cy="203200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C0866B51-C04A-4E01-ABD6-9C7A286D481D}"/>
              </a:ext>
            </a:extLst>
          </p:cNvPr>
          <p:cNvCxnSpPr/>
          <p:nvPr/>
        </p:nvCxnSpPr>
        <p:spPr>
          <a:xfrm flipV="1">
            <a:off x="4168637" y="2726892"/>
            <a:ext cx="0" cy="121920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83EDFAA7-F57C-40AA-9D88-784C5F18A0EF}"/>
              </a:ext>
            </a:extLst>
          </p:cNvPr>
          <p:cNvCxnSpPr/>
          <p:nvPr/>
        </p:nvCxnSpPr>
        <p:spPr>
          <a:xfrm flipV="1">
            <a:off x="7658717" y="2726892"/>
            <a:ext cx="0" cy="1219200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62C8923-EC57-4877-94A2-31B334913DD6}"/>
              </a:ext>
            </a:extLst>
          </p:cNvPr>
          <p:cNvCxnSpPr/>
          <p:nvPr/>
        </p:nvCxnSpPr>
        <p:spPr>
          <a:xfrm flipV="1">
            <a:off x="2890761" y="3423581"/>
            <a:ext cx="0" cy="522513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059756DE-88C5-4F6F-B8AF-8883DDC6DD3E}"/>
              </a:ext>
            </a:extLst>
          </p:cNvPr>
          <p:cNvCxnSpPr/>
          <p:nvPr/>
        </p:nvCxnSpPr>
        <p:spPr>
          <a:xfrm flipV="1">
            <a:off x="9006116" y="3423581"/>
            <a:ext cx="0" cy="522513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98010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27D501B-2055-4A7D-B3FD-89549C3FDC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3">
                    <a:lumMod val="20000"/>
                    <a:lumOff val="80000"/>
                  </a:schemeClr>
                </a:solidFill>
                <a:latin typeface="Arial"/>
              </a:rPr>
              <a:t>Drive: </a:t>
            </a:r>
            <a:r>
              <a:rPr lang="en-US" dirty="0">
                <a:solidFill>
                  <a:schemeClr val="accent3">
                    <a:lumMod val="20000"/>
                    <a:lumOff val="80000"/>
                  </a:schemeClr>
                </a:solidFill>
                <a:latin typeface="Arial"/>
              </a:rPr>
              <a:t>The drive to exert one’s influence on people or event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54">
              <a:defRPr/>
            </a:pPr>
            <a:fld id="{2022EC7D-EA31-4613-AF89-5E3831E6F1D6}" type="slidenum">
              <a:rPr lang="de-DE" sz="1200">
                <a:solidFill>
                  <a:srgbClr val="FFFFFF"/>
                </a:solidFill>
                <a:latin typeface="Arial"/>
              </a:rPr>
              <a:pPr defTabSz="914354">
                <a:defRPr/>
              </a:pPr>
              <a:t>5</a:t>
            </a:fld>
            <a:endParaRPr lang="de-DE" sz="12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283BF3D-304F-4E6E-971F-C96CD5B44A5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minance</a:t>
            </a:r>
          </a:p>
        </p:txBody>
      </p:sp>
      <p:graphicFrame>
        <p:nvGraphicFramePr>
          <p:cNvPr id="15" name="Content Placeholder 12"/>
          <p:cNvGraphicFramePr>
            <a:graphicFrameLocks/>
          </p:cNvGraphicFramePr>
          <p:nvPr/>
        </p:nvGraphicFramePr>
        <p:xfrm>
          <a:off x="6340763" y="2797864"/>
          <a:ext cx="5384800" cy="3048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9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9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chemeClr val="tx1"/>
                          </a:solidFill>
                        </a:rPr>
                        <a:t>Need</a:t>
                      </a:r>
                    </a:p>
                  </a:txBody>
                  <a:tcPr marL="121920" marR="121920" marT="60960" marB="60960">
                    <a:solidFill>
                      <a:srgbClr val="4CBFE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chemeClr val="tx1"/>
                          </a:solidFill>
                        </a:rPr>
                        <a:t>Behavior</a:t>
                      </a:r>
                    </a:p>
                  </a:txBody>
                  <a:tcPr marL="121920" marR="121920" marT="60960" marB="60960">
                    <a:solidFill>
                      <a:srgbClr val="4CBF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38400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Independenc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Control of</a:t>
                      </a:r>
                      <a:r>
                        <a:rPr lang="en-US" sz="1900" baseline="0" dirty="0"/>
                        <a:t> </a:t>
                      </a:r>
                      <a:r>
                        <a:rPr lang="en-US" sz="1900" dirty="0"/>
                        <a:t>activiti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Autonomy in problem solving </a:t>
                      </a:r>
                      <a:endParaRPr lang="en-US" sz="1900" baseline="0" dirty="0"/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Opportunities to compete and take the lead</a:t>
                      </a:r>
                      <a:endParaRPr lang="en-US" sz="1900" dirty="0"/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Independen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Challenges the status quo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Comfortable</a:t>
                      </a:r>
                      <a:r>
                        <a:rPr lang="en-US" sz="1900" baseline="0" dirty="0"/>
                        <a:t> with conflic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Autonomou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Deals with adversity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900" dirty="0"/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cxnSp>
        <p:nvCxnSpPr>
          <p:cNvPr id="17" name="Straight Arrow Connector 16"/>
          <p:cNvCxnSpPr/>
          <p:nvPr/>
        </p:nvCxnSpPr>
        <p:spPr>
          <a:xfrm>
            <a:off x="6359239" y="2514600"/>
            <a:ext cx="4105564" cy="0"/>
          </a:xfrm>
          <a:prstGeom prst="straightConnector1">
            <a:avLst/>
          </a:prstGeom>
          <a:ln w="69850">
            <a:solidFill>
              <a:srgbClr val="4CBFE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219200" y="2514603"/>
            <a:ext cx="4267200" cy="6927"/>
          </a:xfrm>
          <a:prstGeom prst="straightConnector1">
            <a:avLst/>
          </a:prstGeom>
          <a:ln w="69850">
            <a:solidFill>
              <a:srgbClr val="99DBEF"/>
            </a:solidFill>
            <a:tailEnd type="triangle"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10668000" y="2318666"/>
            <a:ext cx="914400" cy="42467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defTabSz="609527">
              <a:defRPr/>
            </a:pPr>
            <a:r>
              <a:rPr lang="en-US" sz="2400" dirty="0">
                <a:solidFill>
                  <a:srgbClr val="FFFFFF"/>
                </a:solidFill>
                <a:latin typeface="Arial"/>
              </a:rPr>
              <a:t>HIGH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09600" y="2311404"/>
            <a:ext cx="914400" cy="42467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defTabSz="609527">
              <a:defRPr/>
            </a:pPr>
            <a:r>
              <a:rPr lang="en-US" sz="2400" dirty="0">
                <a:solidFill>
                  <a:srgbClr val="FFFFFF"/>
                </a:solidFill>
                <a:latin typeface="Arial"/>
              </a:rPr>
              <a:t>LOW</a:t>
            </a:r>
          </a:p>
        </p:txBody>
      </p:sp>
      <p:graphicFrame>
        <p:nvGraphicFramePr>
          <p:cNvPr id="19" name="Content Placeholder 12"/>
          <p:cNvGraphicFramePr>
            <a:graphicFrameLocks/>
          </p:cNvGraphicFramePr>
          <p:nvPr/>
        </p:nvGraphicFramePr>
        <p:xfrm>
          <a:off x="385415" y="2797864"/>
          <a:ext cx="5384800" cy="3048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9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9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chemeClr val="tx1"/>
                          </a:solidFill>
                        </a:rPr>
                        <a:t>Need</a:t>
                      </a:r>
                    </a:p>
                  </a:txBody>
                  <a:tcPr marL="121920" marR="121920" marT="60960" marB="60960">
                    <a:solidFill>
                      <a:srgbClr val="99DBE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chemeClr val="tx1"/>
                          </a:solidFill>
                        </a:rPr>
                        <a:t>Behavior</a:t>
                      </a:r>
                    </a:p>
                  </a:txBody>
                  <a:tcPr marL="121920" marR="121920" marT="60960" marB="60960">
                    <a:solidFill>
                      <a:srgbClr val="99DB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38400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Encouragement</a:t>
                      </a:r>
                      <a:r>
                        <a:rPr lang="en-US" sz="1900" baseline="0" dirty="0"/>
                        <a:t> &amp; reassuranc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Harmony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Strong leadership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Supportive, team-oriented environmen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Freedom from competition</a:t>
                      </a:r>
                      <a:endParaRPr lang="en-US" sz="1900" dirty="0"/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Cooperativ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Accommodatin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Harmony-seekin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Collaborativ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Promotes collective efforts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11DAC8E2-6B57-4E3C-A9F1-2D03C7FA7F08}"/>
              </a:ext>
            </a:extLst>
          </p:cNvPr>
          <p:cNvGrpSpPr/>
          <p:nvPr/>
        </p:nvGrpSpPr>
        <p:grpSpPr>
          <a:xfrm>
            <a:off x="4868719" y="289697"/>
            <a:ext cx="7086600" cy="939800"/>
            <a:chOff x="5194300" y="838200"/>
            <a:chExt cx="6556323" cy="939800"/>
          </a:xfrm>
          <a:solidFill>
            <a:srgbClr val="00A3D7"/>
          </a:solidFill>
        </p:grpSpPr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F5DD8142-90B1-4D21-BE5C-27FC5FF6EB64}"/>
                </a:ext>
              </a:extLst>
            </p:cNvPr>
            <p:cNvSpPr/>
            <p:nvPr/>
          </p:nvSpPr>
          <p:spPr>
            <a:xfrm>
              <a:off x="5194300" y="1235954"/>
              <a:ext cx="1020088" cy="142394"/>
            </a:xfrm>
            <a:custGeom>
              <a:avLst/>
              <a:gdLst>
                <a:gd name="connsiteX0" fmla="*/ 754856 w 752475"/>
                <a:gd name="connsiteY0" fmla="*/ 0 h 142393"/>
                <a:gd name="connsiteX1" fmla="*/ 0 w 752475"/>
                <a:gd name="connsiteY1" fmla="*/ 73570 h 142393"/>
                <a:gd name="connsiteX2" fmla="*/ 754856 w 752475"/>
                <a:gd name="connsiteY2" fmla="*/ 147140 h 142393"/>
                <a:gd name="connsiteX3" fmla="*/ 754856 w 752475"/>
                <a:gd name="connsiteY3" fmla="*/ 0 h 142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2475" h="142393">
                  <a:moveTo>
                    <a:pt x="754856" y="0"/>
                  </a:moveTo>
                  <a:lnTo>
                    <a:pt x="0" y="73570"/>
                  </a:lnTo>
                  <a:lnTo>
                    <a:pt x="754856" y="147140"/>
                  </a:lnTo>
                  <a:lnTo>
                    <a:pt x="75485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32"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959DFC1F-3F8C-42F1-ABCE-87015373C4AE}"/>
                </a:ext>
              </a:extLst>
            </p:cNvPr>
            <p:cNvSpPr/>
            <p:nvPr/>
          </p:nvSpPr>
          <p:spPr>
            <a:xfrm>
              <a:off x="6301547" y="1156403"/>
              <a:ext cx="1020088" cy="303774"/>
            </a:xfrm>
            <a:custGeom>
              <a:avLst/>
              <a:gdLst>
                <a:gd name="connsiteX0" fmla="*/ 0 w 752475"/>
                <a:gd name="connsiteY0" fmla="*/ 232672 h 303773"/>
                <a:gd name="connsiteX1" fmla="*/ 754856 w 752475"/>
                <a:gd name="connsiteY1" fmla="*/ 306242 h 303773"/>
                <a:gd name="connsiteX2" fmla="*/ 754856 w 752475"/>
                <a:gd name="connsiteY2" fmla="*/ 0 h 303773"/>
                <a:gd name="connsiteX3" fmla="*/ 0 w 752475"/>
                <a:gd name="connsiteY3" fmla="*/ 73570 h 303773"/>
                <a:gd name="connsiteX4" fmla="*/ 0 w 752475"/>
                <a:gd name="connsiteY4" fmla="*/ 232672 h 303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303773">
                  <a:moveTo>
                    <a:pt x="0" y="232672"/>
                  </a:moveTo>
                  <a:lnTo>
                    <a:pt x="754856" y="306242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232672"/>
                  </a:lnTo>
                  <a:close/>
                </a:path>
              </a:pathLst>
            </a:custGeom>
            <a:solidFill>
              <a:srgbClr val="4CBF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32">
                <a:defRPr/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id="{55A8938F-60B8-4CE2-9E18-E8B7B791FDCF}"/>
                </a:ext>
              </a:extLst>
            </p:cNvPr>
            <p:cNvSpPr/>
            <p:nvPr/>
          </p:nvSpPr>
          <p:spPr>
            <a:xfrm>
              <a:off x="7408794" y="1076852"/>
              <a:ext cx="1020088" cy="465154"/>
            </a:xfrm>
            <a:custGeom>
              <a:avLst/>
              <a:gdLst>
                <a:gd name="connsiteX0" fmla="*/ 0 w 752475"/>
                <a:gd name="connsiteY0" fmla="*/ 391773 h 465153"/>
                <a:gd name="connsiteX1" fmla="*/ 754856 w 752475"/>
                <a:gd name="connsiteY1" fmla="*/ 465343 h 465153"/>
                <a:gd name="connsiteX2" fmla="*/ 754856 w 752475"/>
                <a:gd name="connsiteY2" fmla="*/ 0 h 465153"/>
                <a:gd name="connsiteX3" fmla="*/ 0 w 752475"/>
                <a:gd name="connsiteY3" fmla="*/ 73570 h 465153"/>
                <a:gd name="connsiteX4" fmla="*/ 0 w 752475"/>
                <a:gd name="connsiteY4" fmla="*/ 391773 h 465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465153">
                  <a:moveTo>
                    <a:pt x="0" y="391773"/>
                  </a:moveTo>
                  <a:lnTo>
                    <a:pt x="754856" y="465343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391773"/>
                  </a:lnTo>
                  <a:close/>
                </a:path>
              </a:pathLst>
            </a:custGeom>
            <a:solidFill>
              <a:srgbClr val="99DB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32"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" name="Freeform 13">
              <a:extLst>
                <a:ext uri="{FF2B5EF4-FFF2-40B4-BE49-F238E27FC236}">
                  <a16:creationId xmlns:a16="http://schemas.microsoft.com/office/drawing/2014/main" id="{D6A8C02E-71F5-4C0C-B3AE-52A4B279DAB4}"/>
                </a:ext>
              </a:extLst>
            </p:cNvPr>
            <p:cNvSpPr/>
            <p:nvPr/>
          </p:nvSpPr>
          <p:spPr>
            <a:xfrm>
              <a:off x="8516040" y="997301"/>
              <a:ext cx="1020088" cy="617040"/>
            </a:xfrm>
            <a:custGeom>
              <a:avLst/>
              <a:gdLst>
                <a:gd name="connsiteX0" fmla="*/ 0 w 752475"/>
                <a:gd name="connsiteY0" fmla="*/ 550875 h 617040"/>
                <a:gd name="connsiteX1" fmla="*/ 754856 w 752475"/>
                <a:gd name="connsiteY1" fmla="*/ 624445 h 617040"/>
                <a:gd name="connsiteX2" fmla="*/ 754856 w 752475"/>
                <a:gd name="connsiteY2" fmla="*/ 0 h 617040"/>
                <a:gd name="connsiteX3" fmla="*/ 0 w 752475"/>
                <a:gd name="connsiteY3" fmla="*/ 73570 h 617040"/>
                <a:gd name="connsiteX4" fmla="*/ 0 w 752475"/>
                <a:gd name="connsiteY4" fmla="*/ 550875 h 617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617040">
                  <a:moveTo>
                    <a:pt x="0" y="550875"/>
                  </a:moveTo>
                  <a:lnTo>
                    <a:pt x="754856" y="624445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550875"/>
                  </a:lnTo>
                  <a:close/>
                </a:path>
              </a:pathLst>
            </a:custGeom>
            <a:solidFill>
              <a:srgbClr val="99DBE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32">
                <a:defRPr/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Freeform 14">
              <a:extLst>
                <a:ext uri="{FF2B5EF4-FFF2-40B4-BE49-F238E27FC236}">
                  <a16:creationId xmlns:a16="http://schemas.microsoft.com/office/drawing/2014/main" id="{180637EF-9C4B-46C6-A489-B9E3C04574DF}"/>
                </a:ext>
              </a:extLst>
            </p:cNvPr>
            <p:cNvSpPr/>
            <p:nvPr/>
          </p:nvSpPr>
          <p:spPr>
            <a:xfrm>
              <a:off x="9623288" y="917751"/>
              <a:ext cx="1020088" cy="778420"/>
            </a:xfrm>
            <a:custGeom>
              <a:avLst/>
              <a:gdLst>
                <a:gd name="connsiteX0" fmla="*/ 0 w 752475"/>
                <a:gd name="connsiteY0" fmla="*/ 709976 h 778420"/>
                <a:gd name="connsiteX1" fmla="*/ 754856 w 752475"/>
                <a:gd name="connsiteY1" fmla="*/ 783546 h 778420"/>
                <a:gd name="connsiteX2" fmla="*/ 754856 w 752475"/>
                <a:gd name="connsiteY2" fmla="*/ 0 h 778420"/>
                <a:gd name="connsiteX3" fmla="*/ 0 w 752475"/>
                <a:gd name="connsiteY3" fmla="*/ 73570 h 778420"/>
                <a:gd name="connsiteX4" fmla="*/ 0 w 752475"/>
                <a:gd name="connsiteY4" fmla="*/ 709976 h 778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778420">
                  <a:moveTo>
                    <a:pt x="0" y="709976"/>
                  </a:moveTo>
                  <a:lnTo>
                    <a:pt x="754856" y="783546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709976"/>
                  </a:lnTo>
                  <a:close/>
                </a:path>
              </a:pathLst>
            </a:custGeom>
            <a:solidFill>
              <a:srgbClr val="4CBFE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32">
                <a:defRPr/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FB6D28CC-8456-4064-BEFD-49FF2E3A48EE}"/>
                </a:ext>
              </a:extLst>
            </p:cNvPr>
            <p:cNvSpPr/>
            <p:nvPr/>
          </p:nvSpPr>
          <p:spPr>
            <a:xfrm>
              <a:off x="10730535" y="838200"/>
              <a:ext cx="1020088" cy="939800"/>
            </a:xfrm>
            <a:custGeom>
              <a:avLst/>
              <a:gdLst>
                <a:gd name="connsiteX0" fmla="*/ 0 w 752475"/>
                <a:gd name="connsiteY0" fmla="*/ 869173 h 939800"/>
                <a:gd name="connsiteX1" fmla="*/ 754856 w 752475"/>
                <a:gd name="connsiteY1" fmla="*/ 942648 h 939800"/>
                <a:gd name="connsiteX2" fmla="*/ 754856 w 752475"/>
                <a:gd name="connsiteY2" fmla="*/ 0 h 939800"/>
                <a:gd name="connsiteX3" fmla="*/ 0 w 752475"/>
                <a:gd name="connsiteY3" fmla="*/ 73570 h 939800"/>
                <a:gd name="connsiteX4" fmla="*/ 0 w 752475"/>
                <a:gd name="connsiteY4" fmla="*/ 869173 h 93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939800">
                  <a:moveTo>
                    <a:pt x="0" y="869173"/>
                  </a:moveTo>
                  <a:lnTo>
                    <a:pt x="754856" y="942648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8691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 defTabSz="914332">
                <a:defRPr/>
              </a:pPr>
              <a:r>
                <a:rPr lang="en-US" sz="4000" b="1" dirty="0">
                  <a:solidFill>
                    <a:srgbClr val="000000"/>
                  </a:solidFill>
                  <a:latin typeface="Arial"/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275868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0A44552-DF46-4378-A008-7AACECAB98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3">
                    <a:lumMod val="20000"/>
                    <a:lumOff val="80000"/>
                  </a:schemeClr>
                </a:solidFill>
                <a:latin typeface="Arial"/>
              </a:rPr>
              <a:t>Drive: </a:t>
            </a:r>
            <a:r>
              <a:rPr lang="en-US" dirty="0">
                <a:solidFill>
                  <a:schemeClr val="accent3">
                    <a:lumMod val="20000"/>
                    <a:lumOff val="80000"/>
                  </a:schemeClr>
                </a:solidFill>
                <a:latin typeface="Arial"/>
              </a:rPr>
              <a:t>The drive for social interaction with others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54">
              <a:defRPr/>
            </a:pPr>
            <a:fld id="{2022EC7D-EA31-4613-AF89-5E3831E6F1D6}" type="slidenum">
              <a:rPr lang="de-DE" sz="1200">
                <a:solidFill>
                  <a:srgbClr val="FFFFFF"/>
                </a:solidFill>
                <a:latin typeface="Arial"/>
              </a:rPr>
              <a:pPr defTabSz="914354">
                <a:defRPr/>
              </a:pPr>
              <a:t>6</a:t>
            </a:fld>
            <a:endParaRPr lang="de-DE" sz="12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1F05132-FC10-4DA6-AF52-255BB47EFFA1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4FA6B2D-F89A-46CD-A8BA-CF22921C18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raversion</a:t>
            </a:r>
          </a:p>
        </p:txBody>
      </p:sp>
      <p:graphicFrame>
        <p:nvGraphicFramePr>
          <p:cNvPr id="15" name="Content Placeholder 12"/>
          <p:cNvGraphicFramePr>
            <a:graphicFrameLocks/>
          </p:cNvGraphicFramePr>
          <p:nvPr/>
        </p:nvGraphicFramePr>
        <p:xfrm>
          <a:off x="6340763" y="2797864"/>
          <a:ext cx="5384800" cy="27228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9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9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chemeClr val="tx1"/>
                          </a:solidFill>
                        </a:rPr>
                        <a:t>Need</a:t>
                      </a:r>
                    </a:p>
                  </a:txBody>
                  <a:tcPr marL="121920" marR="121920" marT="60960" marB="60960">
                    <a:solidFill>
                      <a:srgbClr val="909D6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chemeClr val="tx1"/>
                          </a:solidFill>
                        </a:rPr>
                        <a:t>Behavior</a:t>
                      </a:r>
                    </a:p>
                  </a:txBody>
                  <a:tcPr marL="121920" marR="121920" marT="60960" marB="60960">
                    <a:solidFill>
                      <a:srgbClr val="909D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13280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Opportunities to work with other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Social acceptanc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Prestige and statu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Visible signs of recognitio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Outgoin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People-oriented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Sociabl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Engaging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900" dirty="0"/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cxnSp>
        <p:nvCxnSpPr>
          <p:cNvPr id="17" name="Straight Arrow Connector 16"/>
          <p:cNvCxnSpPr/>
          <p:nvPr/>
        </p:nvCxnSpPr>
        <p:spPr>
          <a:xfrm>
            <a:off x="6359239" y="2514600"/>
            <a:ext cx="4105564" cy="0"/>
          </a:xfrm>
          <a:prstGeom prst="straightConnector1">
            <a:avLst/>
          </a:prstGeom>
          <a:ln w="69850">
            <a:solidFill>
              <a:srgbClr val="909D6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219200" y="2514603"/>
            <a:ext cx="4267200" cy="6927"/>
          </a:xfrm>
          <a:prstGeom prst="straightConnector1">
            <a:avLst/>
          </a:prstGeom>
          <a:ln w="69850">
            <a:solidFill>
              <a:srgbClr val="C7CEB0"/>
            </a:solidFill>
            <a:tailEnd type="triangle"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10668000" y="2318666"/>
            <a:ext cx="914400" cy="42467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defTabSz="609527">
              <a:defRPr/>
            </a:pPr>
            <a:r>
              <a:rPr lang="en-US" sz="2400" dirty="0">
                <a:solidFill>
                  <a:srgbClr val="FFFFFF"/>
                </a:solidFill>
                <a:latin typeface="Arial"/>
              </a:rPr>
              <a:t>HIGH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09600" y="2311404"/>
            <a:ext cx="914400" cy="42467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defTabSz="609527">
              <a:defRPr/>
            </a:pPr>
            <a:r>
              <a:rPr lang="en-US" sz="2400" dirty="0">
                <a:solidFill>
                  <a:srgbClr val="FFFFFF"/>
                </a:solidFill>
                <a:latin typeface="Arial"/>
              </a:rPr>
              <a:t>LOW</a:t>
            </a:r>
          </a:p>
        </p:txBody>
      </p:sp>
      <p:graphicFrame>
        <p:nvGraphicFramePr>
          <p:cNvPr id="19" name="Content Placeholder 12"/>
          <p:cNvGraphicFramePr>
            <a:graphicFrameLocks/>
          </p:cNvGraphicFramePr>
          <p:nvPr/>
        </p:nvGraphicFramePr>
        <p:xfrm>
          <a:off x="387003" y="2815245"/>
          <a:ext cx="5384800" cy="27584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9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9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chemeClr val="tx1"/>
                          </a:solidFill>
                        </a:rPr>
                        <a:t>Need</a:t>
                      </a:r>
                    </a:p>
                  </a:txBody>
                  <a:tcPr marL="121920" marR="121920" marT="60960" marB="60960">
                    <a:solidFill>
                      <a:srgbClr val="C7CEB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1" dirty="0">
                          <a:solidFill>
                            <a:schemeClr val="tx1"/>
                          </a:solidFill>
                        </a:rPr>
                        <a:t>Behavior</a:t>
                      </a:r>
                    </a:p>
                  </a:txBody>
                  <a:tcPr marL="121920" marR="121920" marT="60960" marB="60960">
                    <a:solidFill>
                      <a:srgbClr val="C7CE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48840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Opportunity</a:t>
                      </a:r>
                      <a:r>
                        <a:rPr lang="en-US" sz="1900" baseline="0" dirty="0"/>
                        <a:t> for introspecti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Time to trust other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Freedom from office “Politics”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Private/personal recognition</a:t>
                      </a:r>
                      <a:endParaRPr lang="en-US" sz="1900" dirty="0"/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Introspectiv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Reflectiv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Analytical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Thinks before actin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Straight-forward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900" dirty="0"/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F323742A-CABD-4071-89C6-0E618A63609E}"/>
              </a:ext>
            </a:extLst>
          </p:cNvPr>
          <p:cNvGrpSpPr/>
          <p:nvPr/>
        </p:nvGrpSpPr>
        <p:grpSpPr>
          <a:xfrm>
            <a:off x="4868719" y="281940"/>
            <a:ext cx="7086600" cy="939800"/>
            <a:chOff x="5194300" y="838200"/>
            <a:chExt cx="6556323" cy="939800"/>
          </a:xfrm>
          <a:solidFill>
            <a:srgbClr val="6D7D3C"/>
          </a:solidFill>
        </p:grpSpPr>
        <p:sp>
          <p:nvSpPr>
            <p:cNvPr id="14" name="Freeform 24">
              <a:extLst>
                <a:ext uri="{FF2B5EF4-FFF2-40B4-BE49-F238E27FC236}">
                  <a16:creationId xmlns:a16="http://schemas.microsoft.com/office/drawing/2014/main" id="{2812C4A1-34E3-4531-8CFE-D260DA52C861}"/>
                </a:ext>
              </a:extLst>
            </p:cNvPr>
            <p:cNvSpPr/>
            <p:nvPr/>
          </p:nvSpPr>
          <p:spPr>
            <a:xfrm>
              <a:off x="5194300" y="1235954"/>
              <a:ext cx="1020088" cy="142394"/>
            </a:xfrm>
            <a:custGeom>
              <a:avLst/>
              <a:gdLst>
                <a:gd name="connsiteX0" fmla="*/ 754856 w 752475"/>
                <a:gd name="connsiteY0" fmla="*/ 0 h 142393"/>
                <a:gd name="connsiteX1" fmla="*/ 0 w 752475"/>
                <a:gd name="connsiteY1" fmla="*/ 73570 h 142393"/>
                <a:gd name="connsiteX2" fmla="*/ 754856 w 752475"/>
                <a:gd name="connsiteY2" fmla="*/ 147140 h 142393"/>
                <a:gd name="connsiteX3" fmla="*/ 754856 w 752475"/>
                <a:gd name="connsiteY3" fmla="*/ 0 h 142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2475" h="142393">
                  <a:moveTo>
                    <a:pt x="754856" y="0"/>
                  </a:moveTo>
                  <a:lnTo>
                    <a:pt x="0" y="73570"/>
                  </a:lnTo>
                  <a:lnTo>
                    <a:pt x="754856" y="147140"/>
                  </a:lnTo>
                  <a:lnTo>
                    <a:pt x="75485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32"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" name="Freeform 25">
              <a:extLst>
                <a:ext uri="{FF2B5EF4-FFF2-40B4-BE49-F238E27FC236}">
                  <a16:creationId xmlns:a16="http://schemas.microsoft.com/office/drawing/2014/main" id="{52848183-C1E2-4D66-AE21-24CA2465EF51}"/>
                </a:ext>
              </a:extLst>
            </p:cNvPr>
            <p:cNvSpPr/>
            <p:nvPr/>
          </p:nvSpPr>
          <p:spPr>
            <a:xfrm>
              <a:off x="6301547" y="1156403"/>
              <a:ext cx="1020088" cy="303774"/>
            </a:xfrm>
            <a:custGeom>
              <a:avLst/>
              <a:gdLst>
                <a:gd name="connsiteX0" fmla="*/ 0 w 752475"/>
                <a:gd name="connsiteY0" fmla="*/ 232672 h 303773"/>
                <a:gd name="connsiteX1" fmla="*/ 754856 w 752475"/>
                <a:gd name="connsiteY1" fmla="*/ 306242 h 303773"/>
                <a:gd name="connsiteX2" fmla="*/ 754856 w 752475"/>
                <a:gd name="connsiteY2" fmla="*/ 0 h 303773"/>
                <a:gd name="connsiteX3" fmla="*/ 0 w 752475"/>
                <a:gd name="connsiteY3" fmla="*/ 73570 h 303773"/>
                <a:gd name="connsiteX4" fmla="*/ 0 w 752475"/>
                <a:gd name="connsiteY4" fmla="*/ 232672 h 303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303773">
                  <a:moveTo>
                    <a:pt x="0" y="232672"/>
                  </a:moveTo>
                  <a:lnTo>
                    <a:pt x="754856" y="306242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232672"/>
                  </a:lnTo>
                  <a:close/>
                </a:path>
              </a:pathLst>
            </a:custGeom>
            <a:solidFill>
              <a:srgbClr val="909D6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32"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" name="Freeform 26">
              <a:extLst>
                <a:ext uri="{FF2B5EF4-FFF2-40B4-BE49-F238E27FC236}">
                  <a16:creationId xmlns:a16="http://schemas.microsoft.com/office/drawing/2014/main" id="{DB548704-B944-405E-8C22-4C042AB84B4D}"/>
                </a:ext>
              </a:extLst>
            </p:cNvPr>
            <p:cNvSpPr/>
            <p:nvPr/>
          </p:nvSpPr>
          <p:spPr>
            <a:xfrm>
              <a:off x="7408794" y="1076852"/>
              <a:ext cx="1020088" cy="465154"/>
            </a:xfrm>
            <a:custGeom>
              <a:avLst/>
              <a:gdLst>
                <a:gd name="connsiteX0" fmla="*/ 0 w 752475"/>
                <a:gd name="connsiteY0" fmla="*/ 391773 h 465153"/>
                <a:gd name="connsiteX1" fmla="*/ 754856 w 752475"/>
                <a:gd name="connsiteY1" fmla="*/ 465343 h 465153"/>
                <a:gd name="connsiteX2" fmla="*/ 754856 w 752475"/>
                <a:gd name="connsiteY2" fmla="*/ 0 h 465153"/>
                <a:gd name="connsiteX3" fmla="*/ 0 w 752475"/>
                <a:gd name="connsiteY3" fmla="*/ 73570 h 465153"/>
                <a:gd name="connsiteX4" fmla="*/ 0 w 752475"/>
                <a:gd name="connsiteY4" fmla="*/ 391773 h 465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465153">
                  <a:moveTo>
                    <a:pt x="0" y="391773"/>
                  </a:moveTo>
                  <a:lnTo>
                    <a:pt x="754856" y="465343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391773"/>
                  </a:lnTo>
                  <a:close/>
                </a:path>
              </a:pathLst>
            </a:custGeom>
            <a:solidFill>
              <a:srgbClr val="C7CE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32"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" name="Freeform 27">
              <a:extLst>
                <a:ext uri="{FF2B5EF4-FFF2-40B4-BE49-F238E27FC236}">
                  <a16:creationId xmlns:a16="http://schemas.microsoft.com/office/drawing/2014/main" id="{32422E1A-24B8-4034-B94B-4EF00B123510}"/>
                </a:ext>
              </a:extLst>
            </p:cNvPr>
            <p:cNvSpPr/>
            <p:nvPr/>
          </p:nvSpPr>
          <p:spPr>
            <a:xfrm>
              <a:off x="8516040" y="997301"/>
              <a:ext cx="1020088" cy="617040"/>
            </a:xfrm>
            <a:custGeom>
              <a:avLst/>
              <a:gdLst>
                <a:gd name="connsiteX0" fmla="*/ 0 w 752475"/>
                <a:gd name="connsiteY0" fmla="*/ 550875 h 617040"/>
                <a:gd name="connsiteX1" fmla="*/ 754856 w 752475"/>
                <a:gd name="connsiteY1" fmla="*/ 624445 h 617040"/>
                <a:gd name="connsiteX2" fmla="*/ 754856 w 752475"/>
                <a:gd name="connsiteY2" fmla="*/ 0 h 617040"/>
                <a:gd name="connsiteX3" fmla="*/ 0 w 752475"/>
                <a:gd name="connsiteY3" fmla="*/ 73570 h 617040"/>
                <a:gd name="connsiteX4" fmla="*/ 0 w 752475"/>
                <a:gd name="connsiteY4" fmla="*/ 550875 h 617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617040">
                  <a:moveTo>
                    <a:pt x="0" y="550875"/>
                  </a:moveTo>
                  <a:lnTo>
                    <a:pt x="754856" y="624445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550875"/>
                  </a:lnTo>
                  <a:close/>
                </a:path>
              </a:pathLst>
            </a:custGeom>
            <a:solidFill>
              <a:srgbClr val="C7CEB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32">
                <a:defRPr/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Freeform 28">
              <a:extLst>
                <a:ext uri="{FF2B5EF4-FFF2-40B4-BE49-F238E27FC236}">
                  <a16:creationId xmlns:a16="http://schemas.microsoft.com/office/drawing/2014/main" id="{C11575DA-399E-42FD-AF1B-DE10E42482EE}"/>
                </a:ext>
              </a:extLst>
            </p:cNvPr>
            <p:cNvSpPr/>
            <p:nvPr/>
          </p:nvSpPr>
          <p:spPr>
            <a:xfrm>
              <a:off x="9623288" y="917751"/>
              <a:ext cx="1020088" cy="778420"/>
            </a:xfrm>
            <a:custGeom>
              <a:avLst/>
              <a:gdLst>
                <a:gd name="connsiteX0" fmla="*/ 0 w 752475"/>
                <a:gd name="connsiteY0" fmla="*/ 709976 h 778420"/>
                <a:gd name="connsiteX1" fmla="*/ 754856 w 752475"/>
                <a:gd name="connsiteY1" fmla="*/ 783546 h 778420"/>
                <a:gd name="connsiteX2" fmla="*/ 754856 w 752475"/>
                <a:gd name="connsiteY2" fmla="*/ 0 h 778420"/>
                <a:gd name="connsiteX3" fmla="*/ 0 w 752475"/>
                <a:gd name="connsiteY3" fmla="*/ 73570 h 778420"/>
                <a:gd name="connsiteX4" fmla="*/ 0 w 752475"/>
                <a:gd name="connsiteY4" fmla="*/ 709976 h 778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778420">
                  <a:moveTo>
                    <a:pt x="0" y="709976"/>
                  </a:moveTo>
                  <a:lnTo>
                    <a:pt x="754856" y="783546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709976"/>
                  </a:lnTo>
                  <a:close/>
                </a:path>
              </a:pathLst>
            </a:custGeom>
            <a:solidFill>
              <a:srgbClr val="909D6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32"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" name="Freeform 29">
              <a:extLst>
                <a:ext uri="{FF2B5EF4-FFF2-40B4-BE49-F238E27FC236}">
                  <a16:creationId xmlns:a16="http://schemas.microsoft.com/office/drawing/2014/main" id="{1F7C205A-5F38-4AFB-B79C-7A6C5AA9CC0F}"/>
                </a:ext>
              </a:extLst>
            </p:cNvPr>
            <p:cNvSpPr/>
            <p:nvPr/>
          </p:nvSpPr>
          <p:spPr>
            <a:xfrm>
              <a:off x="10730535" y="838200"/>
              <a:ext cx="1020088" cy="939800"/>
            </a:xfrm>
            <a:custGeom>
              <a:avLst/>
              <a:gdLst>
                <a:gd name="connsiteX0" fmla="*/ 0 w 752475"/>
                <a:gd name="connsiteY0" fmla="*/ 869173 h 939800"/>
                <a:gd name="connsiteX1" fmla="*/ 754856 w 752475"/>
                <a:gd name="connsiteY1" fmla="*/ 942648 h 939800"/>
                <a:gd name="connsiteX2" fmla="*/ 754856 w 752475"/>
                <a:gd name="connsiteY2" fmla="*/ 0 h 939800"/>
                <a:gd name="connsiteX3" fmla="*/ 0 w 752475"/>
                <a:gd name="connsiteY3" fmla="*/ 73570 h 939800"/>
                <a:gd name="connsiteX4" fmla="*/ 0 w 752475"/>
                <a:gd name="connsiteY4" fmla="*/ 869173 h 93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939800">
                  <a:moveTo>
                    <a:pt x="0" y="869173"/>
                  </a:moveTo>
                  <a:lnTo>
                    <a:pt x="754856" y="942648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8691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 defTabSz="914332">
                <a:defRPr/>
              </a:pPr>
              <a:r>
                <a:rPr lang="en-US" sz="4000" b="1" dirty="0">
                  <a:solidFill>
                    <a:srgbClr val="000000"/>
                  </a:solidFill>
                  <a:latin typeface="Arial"/>
                </a:rPr>
                <a:t>B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313446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D0613C3-D741-4F8F-B0C4-F7BFA8070E9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3">
                    <a:lumMod val="20000"/>
                    <a:lumOff val="80000"/>
                  </a:schemeClr>
                </a:solidFill>
                <a:latin typeface="Arial"/>
              </a:rPr>
              <a:t>Drive: </a:t>
            </a:r>
            <a:r>
              <a:rPr lang="en-US" dirty="0">
                <a:solidFill>
                  <a:schemeClr val="accent3">
                    <a:lumMod val="20000"/>
                    <a:lumOff val="80000"/>
                  </a:schemeClr>
                </a:solidFill>
                <a:latin typeface="Arial"/>
              </a:rPr>
              <a:t>The drive for consistency and stabilit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54">
              <a:defRPr/>
            </a:pPr>
            <a:fld id="{2022EC7D-EA31-4613-AF89-5E3831E6F1D6}" type="slidenum">
              <a:rPr lang="de-DE" sz="1200">
                <a:solidFill>
                  <a:srgbClr val="FFFFFF"/>
                </a:solidFill>
                <a:latin typeface="Arial"/>
              </a:rPr>
              <a:pPr defTabSz="914354">
                <a:defRPr/>
              </a:pPr>
              <a:t>7</a:t>
            </a:fld>
            <a:endParaRPr lang="de-DE" sz="12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37443CC-08FB-4EB0-B431-BD473E89F50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3CA528C-7242-4C43-8F3B-CA3718D76E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ience</a:t>
            </a:r>
          </a:p>
        </p:txBody>
      </p:sp>
      <p:graphicFrame>
        <p:nvGraphicFramePr>
          <p:cNvPr id="15" name="Content Placeholder 12"/>
          <p:cNvGraphicFramePr>
            <a:graphicFrameLocks/>
          </p:cNvGraphicFramePr>
          <p:nvPr/>
        </p:nvGraphicFramePr>
        <p:xfrm>
          <a:off x="6340763" y="2797864"/>
          <a:ext cx="5384800" cy="3048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9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9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r>
                        <a:rPr lang="en-US" sz="2400" b="1" dirty="0"/>
                        <a:t>Need</a:t>
                      </a:r>
                    </a:p>
                  </a:txBody>
                  <a:tcPr marL="121920" marR="121920" marT="60960" marB="60960">
                    <a:solidFill>
                      <a:srgbClr val="66D0C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1" dirty="0"/>
                        <a:t>Behavior</a:t>
                      </a:r>
                    </a:p>
                  </a:txBody>
                  <a:tcPr marL="121920" marR="121920" marT="60960" marB="60960">
                    <a:solidFill>
                      <a:srgbClr val="66D0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38400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Ability to work at a steady pac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Stable</a:t>
                      </a:r>
                      <a:r>
                        <a:rPr lang="en-US" sz="1900" baseline="0" dirty="0"/>
                        <a:t> work environmen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Familiar surroundings/peopl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Supportive “family-like” team</a:t>
                      </a:r>
                      <a:endParaRPr lang="en-US" sz="1900" dirty="0"/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Consisten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Approachabl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Handles routin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Attentive listener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900" dirty="0"/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cxnSp>
        <p:nvCxnSpPr>
          <p:cNvPr id="17" name="Straight Arrow Connector 16"/>
          <p:cNvCxnSpPr/>
          <p:nvPr/>
        </p:nvCxnSpPr>
        <p:spPr>
          <a:xfrm>
            <a:off x="6359239" y="2514600"/>
            <a:ext cx="4105564" cy="0"/>
          </a:xfrm>
          <a:prstGeom prst="straightConnector1">
            <a:avLst/>
          </a:prstGeom>
          <a:ln w="69850">
            <a:solidFill>
              <a:srgbClr val="66D0C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219200" y="2514603"/>
            <a:ext cx="4267200" cy="6927"/>
          </a:xfrm>
          <a:prstGeom prst="straightConnector1">
            <a:avLst/>
          </a:prstGeom>
          <a:ln w="69850">
            <a:solidFill>
              <a:srgbClr val="B3E7E1"/>
            </a:solidFill>
            <a:tailEnd type="triangle"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10668000" y="2318666"/>
            <a:ext cx="914400" cy="42467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defTabSz="609527">
              <a:defRPr/>
            </a:pPr>
            <a:r>
              <a:rPr lang="en-US" sz="2400" dirty="0">
                <a:solidFill>
                  <a:srgbClr val="FFFFFF"/>
                </a:solidFill>
                <a:latin typeface="Arial"/>
              </a:rPr>
              <a:t>HIGH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09600" y="2311404"/>
            <a:ext cx="914400" cy="42467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defTabSz="609527">
              <a:defRPr/>
            </a:pPr>
            <a:r>
              <a:rPr lang="en-US" sz="2400" dirty="0">
                <a:solidFill>
                  <a:srgbClr val="FFFFFF"/>
                </a:solidFill>
                <a:latin typeface="Arial"/>
              </a:rPr>
              <a:t>LOW</a:t>
            </a:r>
          </a:p>
        </p:txBody>
      </p:sp>
      <p:graphicFrame>
        <p:nvGraphicFramePr>
          <p:cNvPr id="19" name="Content Placeholder 12"/>
          <p:cNvGraphicFramePr>
            <a:graphicFrameLocks/>
          </p:cNvGraphicFramePr>
          <p:nvPr/>
        </p:nvGraphicFramePr>
        <p:xfrm>
          <a:off x="387003" y="2815245"/>
          <a:ext cx="5384800" cy="3048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9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9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r>
                        <a:rPr lang="en-US" sz="2400" b="1" dirty="0"/>
                        <a:t>Need</a:t>
                      </a:r>
                    </a:p>
                  </a:txBody>
                  <a:tcPr marL="121920" marR="121920" marT="60960" marB="60960">
                    <a:solidFill>
                      <a:srgbClr val="B3E7E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1" dirty="0"/>
                        <a:t>Behavior</a:t>
                      </a:r>
                    </a:p>
                  </a:txBody>
                  <a:tcPr marL="121920" marR="121920" marT="60960" marB="60960">
                    <a:solidFill>
                      <a:srgbClr val="B3E7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38400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Variety and change</a:t>
                      </a:r>
                      <a:r>
                        <a:rPr lang="en-US" sz="1900" baseline="0" dirty="0"/>
                        <a:t> of pac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Mobility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Freedom from repetiti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Work where results are achieved quickly</a:t>
                      </a:r>
                      <a:endParaRPr lang="en-US" sz="1900" dirty="0"/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Drivin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Fast-paced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Quick to act</a:t>
                      </a:r>
                    </a:p>
                    <a:p>
                      <a:pPr marL="171450" marR="0" lvl="0" indent="-171450" algn="l" defTabSz="4571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900" dirty="0"/>
                        <a:t>Intens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Multi-tasking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6852CE9C-3D54-4C49-9C85-DC982B30E0CE}"/>
              </a:ext>
            </a:extLst>
          </p:cNvPr>
          <p:cNvGrpSpPr/>
          <p:nvPr/>
        </p:nvGrpSpPr>
        <p:grpSpPr>
          <a:xfrm>
            <a:off x="4858475" y="278629"/>
            <a:ext cx="7086600" cy="939800"/>
            <a:chOff x="5194300" y="838200"/>
            <a:chExt cx="6556323" cy="939800"/>
          </a:xfrm>
          <a:solidFill>
            <a:srgbClr val="00B098"/>
          </a:solidFill>
        </p:grpSpPr>
        <p:sp>
          <p:nvSpPr>
            <p:cNvPr id="14" name="Freeform 31">
              <a:extLst>
                <a:ext uri="{FF2B5EF4-FFF2-40B4-BE49-F238E27FC236}">
                  <a16:creationId xmlns:a16="http://schemas.microsoft.com/office/drawing/2014/main" id="{EE22DD0E-5532-42AB-8995-F30C50DF5B7C}"/>
                </a:ext>
              </a:extLst>
            </p:cNvPr>
            <p:cNvSpPr/>
            <p:nvPr/>
          </p:nvSpPr>
          <p:spPr>
            <a:xfrm>
              <a:off x="5194300" y="1235954"/>
              <a:ext cx="1020088" cy="142394"/>
            </a:xfrm>
            <a:custGeom>
              <a:avLst/>
              <a:gdLst>
                <a:gd name="connsiteX0" fmla="*/ 754856 w 752475"/>
                <a:gd name="connsiteY0" fmla="*/ 0 h 142393"/>
                <a:gd name="connsiteX1" fmla="*/ 0 w 752475"/>
                <a:gd name="connsiteY1" fmla="*/ 73570 h 142393"/>
                <a:gd name="connsiteX2" fmla="*/ 754856 w 752475"/>
                <a:gd name="connsiteY2" fmla="*/ 147140 h 142393"/>
                <a:gd name="connsiteX3" fmla="*/ 754856 w 752475"/>
                <a:gd name="connsiteY3" fmla="*/ 0 h 142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2475" h="142393">
                  <a:moveTo>
                    <a:pt x="754856" y="0"/>
                  </a:moveTo>
                  <a:lnTo>
                    <a:pt x="0" y="73570"/>
                  </a:lnTo>
                  <a:lnTo>
                    <a:pt x="754856" y="147140"/>
                  </a:lnTo>
                  <a:lnTo>
                    <a:pt x="75485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32"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" name="Freeform 32">
              <a:extLst>
                <a:ext uri="{FF2B5EF4-FFF2-40B4-BE49-F238E27FC236}">
                  <a16:creationId xmlns:a16="http://schemas.microsoft.com/office/drawing/2014/main" id="{2D551C3F-3E16-4445-BF95-4B2255300651}"/>
                </a:ext>
              </a:extLst>
            </p:cNvPr>
            <p:cNvSpPr/>
            <p:nvPr/>
          </p:nvSpPr>
          <p:spPr>
            <a:xfrm>
              <a:off x="6301547" y="1156403"/>
              <a:ext cx="1020088" cy="303774"/>
            </a:xfrm>
            <a:custGeom>
              <a:avLst/>
              <a:gdLst>
                <a:gd name="connsiteX0" fmla="*/ 0 w 752475"/>
                <a:gd name="connsiteY0" fmla="*/ 232672 h 303773"/>
                <a:gd name="connsiteX1" fmla="*/ 754856 w 752475"/>
                <a:gd name="connsiteY1" fmla="*/ 306242 h 303773"/>
                <a:gd name="connsiteX2" fmla="*/ 754856 w 752475"/>
                <a:gd name="connsiteY2" fmla="*/ 0 h 303773"/>
                <a:gd name="connsiteX3" fmla="*/ 0 w 752475"/>
                <a:gd name="connsiteY3" fmla="*/ 73570 h 303773"/>
                <a:gd name="connsiteX4" fmla="*/ 0 w 752475"/>
                <a:gd name="connsiteY4" fmla="*/ 232672 h 303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303773">
                  <a:moveTo>
                    <a:pt x="0" y="232672"/>
                  </a:moveTo>
                  <a:lnTo>
                    <a:pt x="754856" y="306242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232672"/>
                  </a:lnTo>
                  <a:close/>
                </a:path>
              </a:pathLst>
            </a:custGeom>
            <a:solidFill>
              <a:srgbClr val="66D0C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32"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" name="Freeform 33">
              <a:extLst>
                <a:ext uri="{FF2B5EF4-FFF2-40B4-BE49-F238E27FC236}">
                  <a16:creationId xmlns:a16="http://schemas.microsoft.com/office/drawing/2014/main" id="{F5DC27DA-92DE-485D-8E45-413D1F8B3939}"/>
                </a:ext>
              </a:extLst>
            </p:cNvPr>
            <p:cNvSpPr/>
            <p:nvPr/>
          </p:nvSpPr>
          <p:spPr>
            <a:xfrm>
              <a:off x="7408794" y="1076852"/>
              <a:ext cx="1020088" cy="465154"/>
            </a:xfrm>
            <a:custGeom>
              <a:avLst/>
              <a:gdLst>
                <a:gd name="connsiteX0" fmla="*/ 0 w 752475"/>
                <a:gd name="connsiteY0" fmla="*/ 391773 h 465153"/>
                <a:gd name="connsiteX1" fmla="*/ 754856 w 752475"/>
                <a:gd name="connsiteY1" fmla="*/ 465343 h 465153"/>
                <a:gd name="connsiteX2" fmla="*/ 754856 w 752475"/>
                <a:gd name="connsiteY2" fmla="*/ 0 h 465153"/>
                <a:gd name="connsiteX3" fmla="*/ 0 w 752475"/>
                <a:gd name="connsiteY3" fmla="*/ 73570 h 465153"/>
                <a:gd name="connsiteX4" fmla="*/ 0 w 752475"/>
                <a:gd name="connsiteY4" fmla="*/ 391773 h 465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465153">
                  <a:moveTo>
                    <a:pt x="0" y="391773"/>
                  </a:moveTo>
                  <a:lnTo>
                    <a:pt x="754856" y="465343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391773"/>
                  </a:lnTo>
                  <a:close/>
                </a:path>
              </a:pathLst>
            </a:custGeom>
            <a:solidFill>
              <a:srgbClr val="B3E7E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32"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" name="Freeform 34">
              <a:extLst>
                <a:ext uri="{FF2B5EF4-FFF2-40B4-BE49-F238E27FC236}">
                  <a16:creationId xmlns:a16="http://schemas.microsoft.com/office/drawing/2014/main" id="{321B41F1-2CE3-46A3-B13D-D7009E18F95C}"/>
                </a:ext>
              </a:extLst>
            </p:cNvPr>
            <p:cNvSpPr/>
            <p:nvPr/>
          </p:nvSpPr>
          <p:spPr>
            <a:xfrm>
              <a:off x="8516040" y="997301"/>
              <a:ext cx="1020088" cy="617040"/>
            </a:xfrm>
            <a:custGeom>
              <a:avLst/>
              <a:gdLst>
                <a:gd name="connsiteX0" fmla="*/ 0 w 752475"/>
                <a:gd name="connsiteY0" fmla="*/ 550875 h 617040"/>
                <a:gd name="connsiteX1" fmla="*/ 754856 w 752475"/>
                <a:gd name="connsiteY1" fmla="*/ 624445 h 617040"/>
                <a:gd name="connsiteX2" fmla="*/ 754856 w 752475"/>
                <a:gd name="connsiteY2" fmla="*/ 0 h 617040"/>
                <a:gd name="connsiteX3" fmla="*/ 0 w 752475"/>
                <a:gd name="connsiteY3" fmla="*/ 73570 h 617040"/>
                <a:gd name="connsiteX4" fmla="*/ 0 w 752475"/>
                <a:gd name="connsiteY4" fmla="*/ 550875 h 617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617040">
                  <a:moveTo>
                    <a:pt x="0" y="550875"/>
                  </a:moveTo>
                  <a:lnTo>
                    <a:pt x="754856" y="624445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550875"/>
                  </a:lnTo>
                  <a:close/>
                </a:path>
              </a:pathLst>
            </a:custGeom>
            <a:solidFill>
              <a:srgbClr val="B3E7E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32">
                <a:defRPr/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Freeform 35">
              <a:extLst>
                <a:ext uri="{FF2B5EF4-FFF2-40B4-BE49-F238E27FC236}">
                  <a16:creationId xmlns:a16="http://schemas.microsoft.com/office/drawing/2014/main" id="{66192C1E-FDC1-43BD-9422-D1691D9578D1}"/>
                </a:ext>
              </a:extLst>
            </p:cNvPr>
            <p:cNvSpPr/>
            <p:nvPr/>
          </p:nvSpPr>
          <p:spPr>
            <a:xfrm>
              <a:off x="9623288" y="917751"/>
              <a:ext cx="1020088" cy="778420"/>
            </a:xfrm>
            <a:custGeom>
              <a:avLst/>
              <a:gdLst>
                <a:gd name="connsiteX0" fmla="*/ 0 w 752475"/>
                <a:gd name="connsiteY0" fmla="*/ 709976 h 778420"/>
                <a:gd name="connsiteX1" fmla="*/ 754856 w 752475"/>
                <a:gd name="connsiteY1" fmla="*/ 783546 h 778420"/>
                <a:gd name="connsiteX2" fmla="*/ 754856 w 752475"/>
                <a:gd name="connsiteY2" fmla="*/ 0 h 778420"/>
                <a:gd name="connsiteX3" fmla="*/ 0 w 752475"/>
                <a:gd name="connsiteY3" fmla="*/ 73570 h 778420"/>
                <a:gd name="connsiteX4" fmla="*/ 0 w 752475"/>
                <a:gd name="connsiteY4" fmla="*/ 709976 h 778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778420">
                  <a:moveTo>
                    <a:pt x="0" y="709976"/>
                  </a:moveTo>
                  <a:lnTo>
                    <a:pt x="754856" y="783546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709976"/>
                  </a:lnTo>
                  <a:close/>
                </a:path>
              </a:pathLst>
            </a:custGeom>
            <a:solidFill>
              <a:srgbClr val="66D0C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32"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" name="Freeform 36">
              <a:extLst>
                <a:ext uri="{FF2B5EF4-FFF2-40B4-BE49-F238E27FC236}">
                  <a16:creationId xmlns:a16="http://schemas.microsoft.com/office/drawing/2014/main" id="{A03B834E-7191-4C3D-91D6-06C650D094AD}"/>
                </a:ext>
              </a:extLst>
            </p:cNvPr>
            <p:cNvSpPr/>
            <p:nvPr/>
          </p:nvSpPr>
          <p:spPr>
            <a:xfrm>
              <a:off x="10730535" y="838200"/>
              <a:ext cx="1020088" cy="939800"/>
            </a:xfrm>
            <a:custGeom>
              <a:avLst/>
              <a:gdLst>
                <a:gd name="connsiteX0" fmla="*/ 0 w 752475"/>
                <a:gd name="connsiteY0" fmla="*/ 869173 h 939800"/>
                <a:gd name="connsiteX1" fmla="*/ 754856 w 752475"/>
                <a:gd name="connsiteY1" fmla="*/ 942648 h 939800"/>
                <a:gd name="connsiteX2" fmla="*/ 754856 w 752475"/>
                <a:gd name="connsiteY2" fmla="*/ 0 h 939800"/>
                <a:gd name="connsiteX3" fmla="*/ 0 w 752475"/>
                <a:gd name="connsiteY3" fmla="*/ 73570 h 939800"/>
                <a:gd name="connsiteX4" fmla="*/ 0 w 752475"/>
                <a:gd name="connsiteY4" fmla="*/ 869173 h 93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939800">
                  <a:moveTo>
                    <a:pt x="0" y="869173"/>
                  </a:moveTo>
                  <a:lnTo>
                    <a:pt x="754856" y="942648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8691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 defTabSz="914332">
                <a:defRPr/>
              </a:pPr>
              <a:r>
                <a:rPr lang="en-US" sz="4000" b="1" dirty="0">
                  <a:solidFill>
                    <a:srgbClr val="000000"/>
                  </a:solidFill>
                  <a:latin typeface="Arial"/>
                </a:rPr>
                <a:t>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137267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193BD00-A543-4C7F-9D32-13EDD633E8E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752" y="1280160"/>
            <a:ext cx="11585448" cy="365760"/>
          </a:xfrm>
        </p:spPr>
        <p:txBody>
          <a:bodyPr/>
          <a:lstStyle/>
          <a:p>
            <a:r>
              <a:rPr lang="en-US" b="1" dirty="0">
                <a:solidFill>
                  <a:schemeClr val="accent3">
                    <a:lumMod val="20000"/>
                    <a:lumOff val="80000"/>
                  </a:schemeClr>
                </a:solidFill>
                <a:latin typeface="Arial"/>
              </a:rPr>
              <a:t>Drive: </a:t>
            </a:r>
            <a:r>
              <a:rPr lang="en-US" dirty="0">
                <a:solidFill>
                  <a:schemeClr val="accent3">
                    <a:lumMod val="20000"/>
                    <a:lumOff val="80000"/>
                  </a:schemeClr>
                </a:solidFill>
                <a:latin typeface="Arial"/>
              </a:rPr>
              <a:t>The drive to conform to rules and structure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54">
              <a:defRPr/>
            </a:pPr>
            <a:fld id="{2022EC7D-EA31-4613-AF89-5E3831E6F1D6}" type="slidenum">
              <a:rPr lang="de-DE" sz="1200">
                <a:solidFill>
                  <a:srgbClr val="FFFFFF"/>
                </a:solidFill>
                <a:latin typeface="Arial"/>
              </a:rPr>
              <a:pPr defTabSz="914354">
                <a:defRPr/>
              </a:pPr>
              <a:t>8</a:t>
            </a:fld>
            <a:endParaRPr lang="de-DE" sz="12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BD257A1-B1CD-4F9A-AD07-EC69EC46232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539A4F-8519-43DC-B502-B903617394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lity</a:t>
            </a:r>
          </a:p>
        </p:txBody>
      </p:sp>
      <p:graphicFrame>
        <p:nvGraphicFramePr>
          <p:cNvPr id="15" name="Content Placeholder 12"/>
          <p:cNvGraphicFramePr>
            <a:graphicFrameLocks/>
          </p:cNvGraphicFramePr>
          <p:nvPr/>
        </p:nvGraphicFramePr>
        <p:xfrm>
          <a:off x="6340763" y="2797864"/>
          <a:ext cx="5384800" cy="3048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9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9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r>
                        <a:rPr lang="en-US" sz="2400" b="1" dirty="0"/>
                        <a:t>Need</a:t>
                      </a:r>
                    </a:p>
                  </a:txBody>
                  <a:tcPr marL="121920" marR="121920" marT="60960" marB="60960">
                    <a:solidFill>
                      <a:srgbClr val="E2BB5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1" dirty="0"/>
                        <a:t>Behavior</a:t>
                      </a:r>
                    </a:p>
                  </a:txBody>
                  <a:tcPr marL="121920" marR="121920" marT="60960" marB="60960">
                    <a:solidFill>
                      <a:srgbClr val="E2BB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38400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Clarity of expectations/rul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Structure and clear definition of responsibility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Freedom from risk of error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Diligent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Thorough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Process/system drive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Precis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Cautious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900" dirty="0"/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cxnSp>
        <p:nvCxnSpPr>
          <p:cNvPr id="17" name="Straight Arrow Connector 16"/>
          <p:cNvCxnSpPr/>
          <p:nvPr/>
        </p:nvCxnSpPr>
        <p:spPr>
          <a:xfrm>
            <a:off x="6359239" y="2514600"/>
            <a:ext cx="4105564" cy="0"/>
          </a:xfrm>
          <a:prstGeom prst="straightConnector1">
            <a:avLst/>
          </a:prstGeom>
          <a:ln w="69850">
            <a:solidFill>
              <a:srgbClr val="E2BB5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1219200" y="2514603"/>
            <a:ext cx="4267200" cy="6927"/>
          </a:xfrm>
          <a:prstGeom prst="straightConnector1">
            <a:avLst/>
          </a:prstGeom>
          <a:ln w="69850">
            <a:solidFill>
              <a:srgbClr val="F0DEA9"/>
            </a:solidFill>
            <a:tailEnd type="triangle"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10668000" y="2318666"/>
            <a:ext cx="914400" cy="42467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defTabSz="609527">
              <a:defRPr/>
            </a:pPr>
            <a:r>
              <a:rPr lang="en-US" sz="2400" dirty="0">
                <a:solidFill>
                  <a:srgbClr val="FFFFFF"/>
                </a:solidFill>
                <a:latin typeface="Arial"/>
              </a:rPr>
              <a:t>HIGH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09600" y="2311404"/>
            <a:ext cx="914400" cy="42467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defTabSz="609527">
              <a:defRPr/>
            </a:pPr>
            <a:r>
              <a:rPr lang="en-US" sz="2400" dirty="0">
                <a:solidFill>
                  <a:srgbClr val="FFFFFF"/>
                </a:solidFill>
                <a:latin typeface="Arial"/>
              </a:rPr>
              <a:t>LOW</a:t>
            </a:r>
          </a:p>
        </p:txBody>
      </p:sp>
      <p:graphicFrame>
        <p:nvGraphicFramePr>
          <p:cNvPr id="19" name="Content Placeholder 12"/>
          <p:cNvGraphicFramePr>
            <a:graphicFrameLocks/>
          </p:cNvGraphicFramePr>
          <p:nvPr/>
        </p:nvGraphicFramePr>
        <p:xfrm>
          <a:off x="387003" y="2815245"/>
          <a:ext cx="5384800" cy="3048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92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92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9600">
                <a:tc>
                  <a:txBody>
                    <a:bodyPr/>
                    <a:lstStyle/>
                    <a:p>
                      <a:r>
                        <a:rPr lang="en-US" sz="2400" b="1" dirty="0"/>
                        <a:t>Need</a:t>
                      </a:r>
                    </a:p>
                  </a:txBody>
                  <a:tcPr marL="121920" marR="121920" marT="60960" marB="60960">
                    <a:solidFill>
                      <a:srgbClr val="F0DEA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b="1" dirty="0"/>
                        <a:t>Behavior</a:t>
                      </a:r>
                    </a:p>
                  </a:txBody>
                  <a:tcPr marL="121920" marR="121920" marT="60960" marB="60960">
                    <a:solidFill>
                      <a:srgbClr val="F0DEA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38400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Freedom from rigid</a:t>
                      </a:r>
                      <a:r>
                        <a:rPr lang="en-US" sz="1900" baseline="0" dirty="0"/>
                        <a:t> structure or tight rules and control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Opportunity to delegate detail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Informality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baseline="0" dirty="0"/>
                        <a:t>Freedom of expression</a:t>
                      </a:r>
                      <a:endParaRPr lang="en-US" sz="1900" dirty="0"/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Informal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Flexibl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Spontaneou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Non-conformin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900" dirty="0"/>
                        <a:t>Tolerant of uncertainty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23775EBE-F82D-4732-8FDE-B6320D53F92A}"/>
              </a:ext>
            </a:extLst>
          </p:cNvPr>
          <p:cNvGrpSpPr/>
          <p:nvPr/>
        </p:nvGrpSpPr>
        <p:grpSpPr>
          <a:xfrm>
            <a:off x="4858888" y="267208"/>
            <a:ext cx="7086600" cy="939800"/>
            <a:chOff x="5194300" y="838200"/>
            <a:chExt cx="6556323" cy="939800"/>
          </a:xfrm>
          <a:solidFill>
            <a:srgbClr val="D9AA28"/>
          </a:solidFill>
        </p:grpSpPr>
        <p:sp>
          <p:nvSpPr>
            <p:cNvPr id="14" name="Freeform 38">
              <a:extLst>
                <a:ext uri="{FF2B5EF4-FFF2-40B4-BE49-F238E27FC236}">
                  <a16:creationId xmlns:a16="http://schemas.microsoft.com/office/drawing/2014/main" id="{5086F623-C025-4748-8BBC-BEFB515FED96}"/>
                </a:ext>
              </a:extLst>
            </p:cNvPr>
            <p:cNvSpPr/>
            <p:nvPr/>
          </p:nvSpPr>
          <p:spPr>
            <a:xfrm>
              <a:off x="5194300" y="1235954"/>
              <a:ext cx="1020088" cy="142394"/>
            </a:xfrm>
            <a:custGeom>
              <a:avLst/>
              <a:gdLst>
                <a:gd name="connsiteX0" fmla="*/ 754856 w 752475"/>
                <a:gd name="connsiteY0" fmla="*/ 0 h 142393"/>
                <a:gd name="connsiteX1" fmla="*/ 0 w 752475"/>
                <a:gd name="connsiteY1" fmla="*/ 73570 h 142393"/>
                <a:gd name="connsiteX2" fmla="*/ 754856 w 752475"/>
                <a:gd name="connsiteY2" fmla="*/ 147140 h 142393"/>
                <a:gd name="connsiteX3" fmla="*/ 754856 w 752475"/>
                <a:gd name="connsiteY3" fmla="*/ 0 h 142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2475" h="142393">
                  <a:moveTo>
                    <a:pt x="754856" y="0"/>
                  </a:moveTo>
                  <a:lnTo>
                    <a:pt x="0" y="73570"/>
                  </a:lnTo>
                  <a:lnTo>
                    <a:pt x="754856" y="147140"/>
                  </a:lnTo>
                  <a:lnTo>
                    <a:pt x="75485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32"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" name="Freeform 39">
              <a:extLst>
                <a:ext uri="{FF2B5EF4-FFF2-40B4-BE49-F238E27FC236}">
                  <a16:creationId xmlns:a16="http://schemas.microsoft.com/office/drawing/2014/main" id="{A574CE03-F3AB-42E2-8EAF-6C9288B2C4BB}"/>
                </a:ext>
              </a:extLst>
            </p:cNvPr>
            <p:cNvSpPr/>
            <p:nvPr/>
          </p:nvSpPr>
          <p:spPr>
            <a:xfrm>
              <a:off x="6301547" y="1156403"/>
              <a:ext cx="1020088" cy="303774"/>
            </a:xfrm>
            <a:custGeom>
              <a:avLst/>
              <a:gdLst>
                <a:gd name="connsiteX0" fmla="*/ 0 w 752475"/>
                <a:gd name="connsiteY0" fmla="*/ 232672 h 303773"/>
                <a:gd name="connsiteX1" fmla="*/ 754856 w 752475"/>
                <a:gd name="connsiteY1" fmla="*/ 306242 h 303773"/>
                <a:gd name="connsiteX2" fmla="*/ 754856 w 752475"/>
                <a:gd name="connsiteY2" fmla="*/ 0 h 303773"/>
                <a:gd name="connsiteX3" fmla="*/ 0 w 752475"/>
                <a:gd name="connsiteY3" fmla="*/ 73570 h 303773"/>
                <a:gd name="connsiteX4" fmla="*/ 0 w 752475"/>
                <a:gd name="connsiteY4" fmla="*/ 232672 h 303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303773">
                  <a:moveTo>
                    <a:pt x="0" y="232672"/>
                  </a:moveTo>
                  <a:lnTo>
                    <a:pt x="754856" y="306242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232672"/>
                  </a:lnTo>
                  <a:close/>
                </a:path>
              </a:pathLst>
            </a:custGeom>
            <a:solidFill>
              <a:srgbClr val="E2BB5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32"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" name="Freeform 40">
              <a:extLst>
                <a:ext uri="{FF2B5EF4-FFF2-40B4-BE49-F238E27FC236}">
                  <a16:creationId xmlns:a16="http://schemas.microsoft.com/office/drawing/2014/main" id="{939B9020-8455-4EB0-ABF8-6BECB2230F20}"/>
                </a:ext>
              </a:extLst>
            </p:cNvPr>
            <p:cNvSpPr/>
            <p:nvPr/>
          </p:nvSpPr>
          <p:spPr>
            <a:xfrm>
              <a:off x="7408794" y="1076852"/>
              <a:ext cx="1020088" cy="465154"/>
            </a:xfrm>
            <a:custGeom>
              <a:avLst/>
              <a:gdLst>
                <a:gd name="connsiteX0" fmla="*/ 0 w 752475"/>
                <a:gd name="connsiteY0" fmla="*/ 391773 h 465153"/>
                <a:gd name="connsiteX1" fmla="*/ 754856 w 752475"/>
                <a:gd name="connsiteY1" fmla="*/ 465343 h 465153"/>
                <a:gd name="connsiteX2" fmla="*/ 754856 w 752475"/>
                <a:gd name="connsiteY2" fmla="*/ 0 h 465153"/>
                <a:gd name="connsiteX3" fmla="*/ 0 w 752475"/>
                <a:gd name="connsiteY3" fmla="*/ 73570 h 465153"/>
                <a:gd name="connsiteX4" fmla="*/ 0 w 752475"/>
                <a:gd name="connsiteY4" fmla="*/ 391773 h 465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465153">
                  <a:moveTo>
                    <a:pt x="0" y="391773"/>
                  </a:moveTo>
                  <a:lnTo>
                    <a:pt x="754856" y="465343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391773"/>
                  </a:lnTo>
                  <a:close/>
                </a:path>
              </a:pathLst>
            </a:custGeom>
            <a:solidFill>
              <a:srgbClr val="F0DE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32"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" name="Freeform 41">
              <a:extLst>
                <a:ext uri="{FF2B5EF4-FFF2-40B4-BE49-F238E27FC236}">
                  <a16:creationId xmlns:a16="http://schemas.microsoft.com/office/drawing/2014/main" id="{9268A3A5-2675-4751-AD15-DAF87B3A5BCD}"/>
                </a:ext>
              </a:extLst>
            </p:cNvPr>
            <p:cNvSpPr/>
            <p:nvPr/>
          </p:nvSpPr>
          <p:spPr>
            <a:xfrm>
              <a:off x="8516040" y="997301"/>
              <a:ext cx="1020088" cy="617040"/>
            </a:xfrm>
            <a:custGeom>
              <a:avLst/>
              <a:gdLst>
                <a:gd name="connsiteX0" fmla="*/ 0 w 752475"/>
                <a:gd name="connsiteY0" fmla="*/ 550875 h 617040"/>
                <a:gd name="connsiteX1" fmla="*/ 754856 w 752475"/>
                <a:gd name="connsiteY1" fmla="*/ 624445 h 617040"/>
                <a:gd name="connsiteX2" fmla="*/ 754856 w 752475"/>
                <a:gd name="connsiteY2" fmla="*/ 0 h 617040"/>
                <a:gd name="connsiteX3" fmla="*/ 0 w 752475"/>
                <a:gd name="connsiteY3" fmla="*/ 73570 h 617040"/>
                <a:gd name="connsiteX4" fmla="*/ 0 w 752475"/>
                <a:gd name="connsiteY4" fmla="*/ 550875 h 617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617040">
                  <a:moveTo>
                    <a:pt x="0" y="550875"/>
                  </a:moveTo>
                  <a:lnTo>
                    <a:pt x="754856" y="624445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550875"/>
                  </a:lnTo>
                  <a:close/>
                </a:path>
              </a:pathLst>
            </a:custGeom>
            <a:solidFill>
              <a:srgbClr val="F0DEA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32">
                <a:defRPr/>
              </a:pPr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" name="Freeform 42">
              <a:extLst>
                <a:ext uri="{FF2B5EF4-FFF2-40B4-BE49-F238E27FC236}">
                  <a16:creationId xmlns:a16="http://schemas.microsoft.com/office/drawing/2014/main" id="{FA6166DE-199B-44E4-9F9C-CDF757738CAA}"/>
                </a:ext>
              </a:extLst>
            </p:cNvPr>
            <p:cNvSpPr/>
            <p:nvPr/>
          </p:nvSpPr>
          <p:spPr>
            <a:xfrm>
              <a:off x="9623288" y="917751"/>
              <a:ext cx="1020088" cy="778420"/>
            </a:xfrm>
            <a:custGeom>
              <a:avLst/>
              <a:gdLst>
                <a:gd name="connsiteX0" fmla="*/ 0 w 752475"/>
                <a:gd name="connsiteY0" fmla="*/ 709976 h 778420"/>
                <a:gd name="connsiteX1" fmla="*/ 754856 w 752475"/>
                <a:gd name="connsiteY1" fmla="*/ 783546 h 778420"/>
                <a:gd name="connsiteX2" fmla="*/ 754856 w 752475"/>
                <a:gd name="connsiteY2" fmla="*/ 0 h 778420"/>
                <a:gd name="connsiteX3" fmla="*/ 0 w 752475"/>
                <a:gd name="connsiteY3" fmla="*/ 73570 h 778420"/>
                <a:gd name="connsiteX4" fmla="*/ 0 w 752475"/>
                <a:gd name="connsiteY4" fmla="*/ 709976 h 778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778420">
                  <a:moveTo>
                    <a:pt x="0" y="709976"/>
                  </a:moveTo>
                  <a:lnTo>
                    <a:pt x="754856" y="783546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709976"/>
                  </a:lnTo>
                  <a:close/>
                </a:path>
              </a:pathLst>
            </a:custGeom>
            <a:solidFill>
              <a:srgbClr val="E2BB5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32">
                <a:defRPr/>
              </a:pPr>
              <a:endParaRPr lang="en-US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" name="Freeform 43">
              <a:extLst>
                <a:ext uri="{FF2B5EF4-FFF2-40B4-BE49-F238E27FC236}">
                  <a16:creationId xmlns:a16="http://schemas.microsoft.com/office/drawing/2014/main" id="{528D695F-7C53-46D4-A1CE-5EDC4D614B36}"/>
                </a:ext>
              </a:extLst>
            </p:cNvPr>
            <p:cNvSpPr/>
            <p:nvPr/>
          </p:nvSpPr>
          <p:spPr>
            <a:xfrm>
              <a:off x="10730535" y="838200"/>
              <a:ext cx="1020088" cy="939800"/>
            </a:xfrm>
            <a:custGeom>
              <a:avLst/>
              <a:gdLst>
                <a:gd name="connsiteX0" fmla="*/ 0 w 752475"/>
                <a:gd name="connsiteY0" fmla="*/ 869173 h 939800"/>
                <a:gd name="connsiteX1" fmla="*/ 754856 w 752475"/>
                <a:gd name="connsiteY1" fmla="*/ 942648 h 939800"/>
                <a:gd name="connsiteX2" fmla="*/ 754856 w 752475"/>
                <a:gd name="connsiteY2" fmla="*/ 0 h 939800"/>
                <a:gd name="connsiteX3" fmla="*/ 0 w 752475"/>
                <a:gd name="connsiteY3" fmla="*/ 73570 h 939800"/>
                <a:gd name="connsiteX4" fmla="*/ 0 w 752475"/>
                <a:gd name="connsiteY4" fmla="*/ 869173 h 939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2475" h="939800">
                  <a:moveTo>
                    <a:pt x="0" y="869173"/>
                  </a:moveTo>
                  <a:lnTo>
                    <a:pt x="754856" y="942648"/>
                  </a:lnTo>
                  <a:lnTo>
                    <a:pt x="754856" y="0"/>
                  </a:lnTo>
                  <a:lnTo>
                    <a:pt x="0" y="73570"/>
                  </a:lnTo>
                  <a:lnTo>
                    <a:pt x="0" y="86917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 defTabSz="914332">
                <a:defRPr/>
              </a:pPr>
              <a:r>
                <a:rPr lang="en-US" sz="4000" b="1" dirty="0">
                  <a:solidFill>
                    <a:srgbClr val="000000"/>
                  </a:solidFill>
                  <a:latin typeface="Arial"/>
                </a:rPr>
                <a:t>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254042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2405B97-4AE0-41B2-8EA3-E33DEAFEE52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19087" y="119047"/>
            <a:ext cx="11553825" cy="878727"/>
          </a:xfrm>
        </p:spPr>
        <p:txBody>
          <a:bodyPr/>
          <a:lstStyle/>
          <a:p>
            <a:r>
              <a:rPr lang="en-US" altLang="en-US" sz="3507" cap="none" dirty="0">
                <a:solidFill>
                  <a:schemeClr val="bg1"/>
                </a:solidFill>
              </a:rPr>
              <a:t>It Starts with Understanding Your “</a:t>
            </a:r>
            <a:r>
              <a:rPr lang="en-US" altLang="en-US" sz="3507" cap="none" dirty="0">
                <a:solidFill>
                  <a:schemeClr val="tx2"/>
                </a:solidFill>
              </a:rPr>
              <a:t>Selves</a:t>
            </a:r>
            <a:r>
              <a:rPr lang="en-US" altLang="en-US" sz="3507" cap="none" dirty="0">
                <a:solidFill>
                  <a:schemeClr val="bg1"/>
                </a:solidFill>
              </a:rPr>
              <a:t>”</a:t>
            </a:r>
            <a:endParaRPr lang="en-US" altLang="en-US" sz="3507" cap="none" dirty="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  <p:pic>
        <p:nvPicPr>
          <p:cNvPr id="4" name="Picture 3" descr="spacer">
            <a:extLst>
              <a:ext uri="{FF2B5EF4-FFF2-40B4-BE49-F238E27FC236}">
                <a16:creationId xmlns:a16="http://schemas.microsoft.com/office/drawing/2014/main" id="{866954AD-E12F-4E5F-977B-69C596439C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4829" y="2420021"/>
            <a:ext cx="4467" cy="23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spacer">
            <a:extLst>
              <a:ext uri="{FF2B5EF4-FFF2-40B4-BE49-F238E27FC236}">
                <a16:creationId xmlns:a16="http://schemas.microsoft.com/office/drawing/2014/main" id="{C8F6F9AC-2EB9-4E41-B4EE-BC8D6AB552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8233" y="2548107"/>
            <a:ext cx="4465" cy="24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 descr="spacer">
            <a:extLst>
              <a:ext uri="{FF2B5EF4-FFF2-40B4-BE49-F238E27FC236}">
                <a16:creationId xmlns:a16="http://schemas.microsoft.com/office/drawing/2014/main" id="{FE43F82F-36A8-46C0-8E81-9D9ADF31C0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8227" y="2741487"/>
            <a:ext cx="72076" cy="43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 descr="spacer">
            <a:extLst>
              <a:ext uri="{FF2B5EF4-FFF2-40B4-BE49-F238E27FC236}">
                <a16:creationId xmlns:a16="http://schemas.microsoft.com/office/drawing/2014/main" id="{A8593EAD-B4A9-4D7C-A01B-003B129234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4835" y="2934243"/>
            <a:ext cx="72076" cy="43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 descr="spacer">
            <a:extLst>
              <a:ext uri="{FF2B5EF4-FFF2-40B4-BE49-F238E27FC236}">
                <a16:creationId xmlns:a16="http://schemas.microsoft.com/office/drawing/2014/main" id="{05D8B3F4-B190-4136-9C42-37FA9B817C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4835" y="3062955"/>
            <a:ext cx="72076" cy="43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spacer">
            <a:extLst>
              <a:ext uri="{FF2B5EF4-FFF2-40B4-BE49-F238E27FC236}">
                <a16:creationId xmlns:a16="http://schemas.microsoft.com/office/drawing/2014/main" id="{CE83E480-DDBE-4E25-AAC1-F24C1CE2D2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4835" y="3191039"/>
            <a:ext cx="72076" cy="5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 descr="spacer">
            <a:extLst>
              <a:ext uri="{FF2B5EF4-FFF2-40B4-BE49-F238E27FC236}">
                <a16:creationId xmlns:a16="http://schemas.microsoft.com/office/drawing/2014/main" id="{6EE740A7-1492-4424-BDCD-BF9DD3C989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4835" y="3319752"/>
            <a:ext cx="72076" cy="5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spacer">
            <a:extLst>
              <a:ext uri="{FF2B5EF4-FFF2-40B4-BE49-F238E27FC236}">
                <a16:creationId xmlns:a16="http://schemas.microsoft.com/office/drawing/2014/main" id="{4DD55995-811C-498F-B512-F7B725A5D5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4835" y="3448467"/>
            <a:ext cx="72076" cy="43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 descr="spacer">
            <a:extLst>
              <a:ext uri="{FF2B5EF4-FFF2-40B4-BE49-F238E27FC236}">
                <a16:creationId xmlns:a16="http://schemas.microsoft.com/office/drawing/2014/main" id="{96334BCE-A30D-48A8-A982-43BFA72939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4835" y="3577179"/>
            <a:ext cx="72076" cy="43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 descr="spacer">
            <a:extLst>
              <a:ext uri="{FF2B5EF4-FFF2-40B4-BE49-F238E27FC236}">
                <a16:creationId xmlns:a16="http://schemas.microsoft.com/office/drawing/2014/main" id="{E2A85FA1-23A6-4AE0-BD23-F0BAB674E4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8227" y="3705894"/>
            <a:ext cx="72076" cy="43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 descr="spacer">
            <a:extLst>
              <a:ext uri="{FF2B5EF4-FFF2-40B4-BE49-F238E27FC236}">
                <a16:creationId xmlns:a16="http://schemas.microsoft.com/office/drawing/2014/main" id="{EC1DFD7C-DBE9-4501-A1AF-8DFD8464F1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4829" y="3898651"/>
            <a:ext cx="4467" cy="722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Box 15">
            <a:extLst>
              <a:ext uri="{FF2B5EF4-FFF2-40B4-BE49-F238E27FC236}">
                <a16:creationId xmlns:a16="http://schemas.microsoft.com/office/drawing/2014/main" id="{D55F8318-2D6B-4927-AE49-B701D03954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62725" y="1529065"/>
            <a:ext cx="5176173" cy="151627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8573" tIns="19287" rIns="38573" bIns="19287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400">
                <a:solidFill>
                  <a:schemeClr val="tx1"/>
                </a:solidFill>
                <a:latin typeface="Franklin Gothic Medium Cond" pitchFamily="34" charset="0"/>
                <a:ea typeface="ＭＳ Ｐゴシック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900">
                <a:solidFill>
                  <a:schemeClr val="tx1"/>
                </a:solidFill>
                <a:latin typeface="Franklin Gothic Medium Cond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600">
                <a:solidFill>
                  <a:schemeClr val="tx1"/>
                </a:solidFill>
                <a:latin typeface="Franklin Gothic Medium Cond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100">
                <a:solidFill>
                  <a:schemeClr val="tx1"/>
                </a:solidFill>
                <a:latin typeface="Franklin Gothic Medium Cond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100">
                <a:solidFill>
                  <a:schemeClr val="tx1"/>
                </a:solidFill>
                <a:latin typeface="Franklin Gothic Medium Cond" pitchFamily="34" charset="0"/>
                <a:ea typeface="ＭＳ Ｐゴシック" pitchFamily="34" charset="-128"/>
              </a:defRPr>
            </a:lvl5pPr>
            <a:lvl6pPr marL="2514600" indent="-228600" defTabSz="965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Franklin Gothic Medium Cond" pitchFamily="34" charset="0"/>
                <a:ea typeface="ＭＳ Ｐゴシック" pitchFamily="34" charset="-128"/>
              </a:defRPr>
            </a:lvl6pPr>
            <a:lvl7pPr marL="2971800" indent="-228600" defTabSz="965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Franklin Gothic Medium Cond" pitchFamily="34" charset="0"/>
                <a:ea typeface="ＭＳ Ｐゴシック" pitchFamily="34" charset="-128"/>
              </a:defRPr>
            </a:lvl7pPr>
            <a:lvl8pPr marL="3429000" indent="-228600" defTabSz="965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Franklin Gothic Medium Cond" pitchFamily="34" charset="0"/>
                <a:ea typeface="ＭＳ Ｐゴシック" pitchFamily="34" charset="-128"/>
              </a:defRPr>
            </a:lvl8pPr>
            <a:lvl9pPr marL="3886200" indent="-228600" defTabSz="965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solidFill>
                  <a:schemeClr val="tx1"/>
                </a:solidFill>
                <a:latin typeface="Franklin Gothic Medium Cond" pitchFamily="34" charset="0"/>
                <a:ea typeface="ＭＳ Ｐゴシック" pitchFamily="34" charset="-128"/>
              </a:defRPr>
            </a:lvl9pPr>
          </a:lstStyle>
          <a:p>
            <a:pPr defTabSz="914354" eaLnBrk="1" hangingPunct="1">
              <a:buNone/>
            </a:pPr>
            <a:r>
              <a:rPr lang="en-US" altLang="en-US" sz="2400" b="1" u="sng" dirty="0">
                <a:solidFill>
                  <a:srgbClr val="FFFFFF"/>
                </a:solidFill>
                <a:latin typeface="Arial"/>
                <a:cs typeface="Interstate-LightCompressed"/>
              </a:rPr>
              <a:t>Self</a:t>
            </a:r>
            <a:br>
              <a:rPr lang="en-US" altLang="en-US" sz="2400" b="1" dirty="0">
                <a:solidFill>
                  <a:srgbClr val="FFFFFF"/>
                </a:solidFill>
                <a:latin typeface="Arial"/>
                <a:cs typeface="Interstate-LightCompressed"/>
              </a:rPr>
            </a:br>
            <a:r>
              <a:rPr lang="en-US" altLang="en-US" sz="2400" dirty="0">
                <a:solidFill>
                  <a:srgbClr val="FFFFFF"/>
                </a:solidFill>
                <a:latin typeface="Arial"/>
                <a:cs typeface="Interstate-LightCompressed"/>
              </a:rPr>
              <a:t>Instinctive attitudes and behaviors– what comes naturally – difficult to change</a:t>
            </a:r>
          </a:p>
        </p:txBody>
      </p:sp>
      <p:sp>
        <p:nvSpPr>
          <p:cNvPr id="16" name="Text Box 16">
            <a:extLst>
              <a:ext uri="{FF2B5EF4-FFF2-40B4-BE49-F238E27FC236}">
                <a16:creationId xmlns:a16="http://schemas.microsoft.com/office/drawing/2014/main" id="{C2BA1E88-06B7-4A8C-863F-B90316DDFD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78578" y="3296453"/>
            <a:ext cx="5144281" cy="151627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8573" tIns="19287" rIns="38573" bIns="19287">
            <a:spAutoFit/>
          </a:bodyPr>
          <a:lstStyle>
            <a:defPPr>
              <a:defRPr lang="en-US"/>
            </a:defPPr>
            <a:lvl1pPr>
              <a:spcBef>
                <a:spcPct val="20000"/>
              </a:spcBef>
              <a:buFont typeface="Arial" charset="0"/>
              <a:buNone/>
              <a:defRPr sz="2000">
                <a:solidFill>
                  <a:srgbClr val="B12B19"/>
                </a:solidFill>
                <a:latin typeface="Interstate-LightCompressed"/>
                <a:ea typeface="ＭＳ Ｐゴシック" pitchFamily="34" charset="-128"/>
                <a:cs typeface="Interstate-LightCompressed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900">
                <a:latin typeface="Franklin Gothic Medium Cond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600">
                <a:latin typeface="Franklin Gothic Medium Cond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100">
                <a:latin typeface="Franklin Gothic Medium Cond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100">
                <a:latin typeface="Franklin Gothic Medium Cond" pitchFamily="34" charset="0"/>
                <a:ea typeface="ＭＳ Ｐゴシック" pitchFamily="34" charset="-128"/>
              </a:defRPr>
            </a:lvl5pPr>
            <a:lvl6pPr marL="2514600" indent="-228600" defTabSz="965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latin typeface="Franklin Gothic Medium Cond" pitchFamily="34" charset="0"/>
                <a:ea typeface="ＭＳ Ｐゴシック" pitchFamily="34" charset="-128"/>
              </a:defRPr>
            </a:lvl6pPr>
            <a:lvl7pPr marL="2971800" indent="-228600" defTabSz="965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latin typeface="Franklin Gothic Medium Cond" pitchFamily="34" charset="0"/>
                <a:ea typeface="ＭＳ Ｐゴシック" pitchFamily="34" charset="-128"/>
              </a:defRPr>
            </a:lvl7pPr>
            <a:lvl8pPr marL="3429000" indent="-228600" defTabSz="965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latin typeface="Franklin Gothic Medium Cond" pitchFamily="34" charset="0"/>
                <a:ea typeface="ＭＳ Ｐゴシック" pitchFamily="34" charset="-128"/>
              </a:defRPr>
            </a:lvl8pPr>
            <a:lvl9pPr marL="3886200" indent="-228600" defTabSz="965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latin typeface="Franklin Gothic Medium Cond" pitchFamily="34" charset="0"/>
                <a:ea typeface="ＭＳ Ｐゴシック" pitchFamily="34" charset="-128"/>
              </a:defRPr>
            </a:lvl9pPr>
          </a:lstStyle>
          <a:p>
            <a:pPr defTabSz="914354"/>
            <a:r>
              <a:rPr lang="en-US" altLang="en-US" sz="2400" b="1" u="sng" dirty="0">
                <a:solidFill>
                  <a:srgbClr val="FFFFFF"/>
                </a:solidFill>
                <a:latin typeface="Arial"/>
              </a:rPr>
              <a:t>Self-concept</a:t>
            </a:r>
            <a:br>
              <a:rPr lang="en-US" altLang="en-US" sz="2400" b="1" u="sng" dirty="0">
                <a:solidFill>
                  <a:srgbClr val="FFFFFF"/>
                </a:solidFill>
                <a:latin typeface="Arial"/>
              </a:rPr>
            </a:br>
            <a:r>
              <a:rPr lang="en-US" altLang="en-US" sz="2400" dirty="0">
                <a:solidFill>
                  <a:srgbClr val="FFFFFF"/>
                </a:solidFill>
                <a:latin typeface="Arial"/>
              </a:rPr>
              <a:t>Perception of what the job environment currently demands –  changeable</a:t>
            </a:r>
          </a:p>
        </p:txBody>
      </p:sp>
      <p:sp>
        <p:nvSpPr>
          <p:cNvPr id="17" name="Text Box 17">
            <a:extLst>
              <a:ext uri="{FF2B5EF4-FFF2-40B4-BE49-F238E27FC236}">
                <a16:creationId xmlns:a16="http://schemas.microsoft.com/office/drawing/2014/main" id="{57A74164-2923-4889-B032-10E7DB41E6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78578" y="5179493"/>
            <a:ext cx="5160320" cy="114694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8573" tIns="19287" rIns="38573" bIns="19287">
            <a:spAutoFit/>
          </a:bodyPr>
          <a:lstStyle>
            <a:defPPr>
              <a:defRPr lang="en-US"/>
            </a:defPPr>
            <a:lvl1pPr>
              <a:spcBef>
                <a:spcPct val="20000"/>
              </a:spcBef>
              <a:buFont typeface="Arial" charset="0"/>
              <a:buNone/>
              <a:defRPr sz="2000">
                <a:solidFill>
                  <a:srgbClr val="B12B19"/>
                </a:solidFill>
                <a:latin typeface="Interstate-LightCompressed"/>
                <a:ea typeface="ＭＳ Ｐゴシック" pitchFamily="34" charset="-128"/>
                <a:cs typeface="Interstate-LightCompressed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900">
                <a:latin typeface="Franklin Gothic Medium Cond" pitchFamily="34" charset="0"/>
                <a:ea typeface="ＭＳ Ｐゴシック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600">
                <a:latin typeface="Franklin Gothic Medium Cond" pitchFamily="34" charset="0"/>
                <a:ea typeface="ＭＳ Ｐゴシック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100">
                <a:latin typeface="Franklin Gothic Medium Cond" pitchFamily="34" charset="0"/>
                <a:ea typeface="ＭＳ Ｐゴシック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100">
                <a:latin typeface="Franklin Gothic Medium Cond" pitchFamily="34" charset="0"/>
                <a:ea typeface="ＭＳ Ｐゴシック" pitchFamily="34" charset="-128"/>
              </a:defRPr>
            </a:lvl5pPr>
            <a:lvl6pPr marL="2514600" indent="-228600" defTabSz="965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latin typeface="Franklin Gothic Medium Cond" pitchFamily="34" charset="0"/>
                <a:ea typeface="ＭＳ Ｐゴシック" pitchFamily="34" charset="-128"/>
              </a:defRPr>
            </a:lvl6pPr>
            <a:lvl7pPr marL="2971800" indent="-228600" defTabSz="965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latin typeface="Franklin Gothic Medium Cond" pitchFamily="34" charset="0"/>
                <a:ea typeface="ＭＳ Ｐゴシック" pitchFamily="34" charset="-128"/>
              </a:defRPr>
            </a:lvl7pPr>
            <a:lvl8pPr marL="3429000" indent="-228600" defTabSz="965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latin typeface="Franklin Gothic Medium Cond" pitchFamily="34" charset="0"/>
                <a:ea typeface="ＭＳ Ｐゴシック" pitchFamily="34" charset="-128"/>
              </a:defRPr>
            </a:lvl8pPr>
            <a:lvl9pPr marL="3886200" indent="-228600" defTabSz="9652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00">
                <a:latin typeface="Franklin Gothic Medium Cond" pitchFamily="34" charset="0"/>
                <a:ea typeface="ＭＳ Ｐゴシック" pitchFamily="34" charset="-128"/>
              </a:defRPr>
            </a:lvl9pPr>
          </a:lstStyle>
          <a:p>
            <a:pPr defTabSz="914354"/>
            <a:r>
              <a:rPr lang="en-US" altLang="en-US" sz="2400" b="1" u="sng" dirty="0">
                <a:solidFill>
                  <a:srgbClr val="FFFFFF"/>
                </a:solidFill>
                <a:latin typeface="Arial"/>
              </a:rPr>
              <a:t>Synthesis</a:t>
            </a:r>
            <a:br>
              <a:rPr lang="en-US" altLang="en-US" sz="2400" b="1" dirty="0">
                <a:solidFill>
                  <a:srgbClr val="FFFFFF"/>
                </a:solidFill>
                <a:latin typeface="Arial"/>
              </a:rPr>
            </a:br>
            <a:r>
              <a:rPr lang="en-US" altLang="en-US" sz="2400" dirty="0">
                <a:solidFill>
                  <a:srgbClr val="FFFFFF"/>
                </a:solidFill>
                <a:latin typeface="Arial"/>
              </a:rPr>
              <a:t>Behaviors people experience and observe when working with you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A643986-B5E5-4B6D-8472-02FB87D02D3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1681" r="2317"/>
          <a:stretch/>
        </p:blipFill>
        <p:spPr>
          <a:xfrm>
            <a:off x="249157" y="1546460"/>
            <a:ext cx="5841840" cy="5016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10309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3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20"/>
  <p:tag name="MIO_HDS" val="True"/>
  <p:tag name="MIO_EK" val="5373"/>
  <p:tag name="MIO_EKGUID" val="dae2b00c-5977-467a-8485-4cfb2b402b17"/>
  <p:tag name="MIO_UPDATE" val="True"/>
  <p:tag name="MIO_VERSION" val="25.04.2018 12:29:16"/>
  <p:tag name="MIO_DBID" val="E9E2F3E9-3AB4-4CA0-973A-1D0D5F121232"/>
  <p:tag name="MIO_LASTDOWNLOADED" val="25.04.2018 13:35:48"/>
  <p:tag name="MIO_OBJECTNAME" val="16:9 Main Master Black"/>
  <p:tag name="MIO_LASTEDITORNAME" val="Elle Tros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ONFIDENTIAL. FOR ADVISOR USE ONLY. NOT FOR INVESTOR USE."/>
  <p:tag name="MIO_USER_INPUT_OPTIONS" val="CONFIDENTIAL. FOR ADVISOR USE ONLY. NOT FOR INVESTOR USE. ;  ;CONFIDENTIAL - FOR BROKER DEALER USE ONLY. To be reviewed for the purposes of bona fide due diligence efforts only. Not for investor use. Not for public distribution. ;CONFIDENTIAL. FOR INTERNAL FS INVESTMENTS USE ONLY. NOT FOR EXTERNAL DISTRIBUTION.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3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19"/>
  <p:tag name="MIO_HDS" val="True"/>
  <p:tag name="MIO_EK" val="5372"/>
  <p:tag name="MIO_EKGUID" val="f1e5a8e2-63d2-4cfa-99f6-b3b7ac717b1e"/>
  <p:tag name="MIO_UPDATE" val="True"/>
  <p:tag name="MIO_VERSION" val="25.04.2018 12:28:33"/>
  <p:tag name="MIO_DBID" val="E9E2F3E9-3AB4-4CA0-973A-1D0D5F121232"/>
  <p:tag name="MIO_LASTDOWNLOADED" val="08.05.2018 10:58:07"/>
  <p:tag name="MIO_OBJECTNAME" val="16:9 Main Master White"/>
  <p:tag name="MIO_LASTEDITORNAME" val="Elle Trost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3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19"/>
  <p:tag name="MIO_HDS" val="True"/>
  <p:tag name="MIO_EK" val="5372"/>
  <p:tag name="MIO_EKGUID" val="f1e5a8e2-63d2-4cfa-99f6-b3b7ac717b1e"/>
  <p:tag name="MIO_UPDATE" val="True"/>
  <p:tag name="MIO_VERSION" val="25.04.2018 12:28:33"/>
  <p:tag name="MIO_DBID" val="E9E2F3E9-3AB4-4CA0-973A-1D0D5F121232"/>
  <p:tag name="MIO_LASTDOWNLOADED" val="08.05.2018 10:58:07"/>
  <p:tag name="MIO_OBJECTNAME" val="16:9 Main Master White"/>
  <p:tag name="MIO_LASTEDITORNAME" val="Elle Tros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3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19"/>
  <p:tag name="MIO_HDS" val="True"/>
  <p:tag name="MIO_EK" val="5372"/>
  <p:tag name="MIO_EKGUID" val="f1e5a8e2-63d2-4cfa-99f6-b3b7ac717b1e"/>
  <p:tag name="MIO_UPDATE" val="True"/>
  <p:tag name="MIO_VERSION" val="25.04.2018 12:28:33"/>
  <p:tag name="MIO_DBID" val="E9E2F3E9-3AB4-4CA0-973A-1D0D5F121232"/>
  <p:tag name="MIO_LASTDOWNLOADED" val="08.05.2018 10:58:07"/>
  <p:tag name="MIO_OBJECTNAME" val="16:9 Main Master White"/>
  <p:tag name="MIO_LASTEDITORNAME" val="Elle Tros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ONFIDENTIAL. FOR ADVISOR USE ONLY. NOT FOR INVESTOR USE."/>
  <p:tag name="MIO_USER_INPUT_OPTIONS" val="CONFIDENTIAL. FOR ADVISOR USE ONLY. NOT FOR INVESTOR USE. ;  ;CONFIDENTIAL - FOR BROKER DEALER USE ONLY. To be reviewed for the purposes of bona fide due diligence efforts only. Not for investor use. Not for public distribution. ;CONFIDENTIAL. FOR INTERNAL FS INVESTMENTS USE ONLY. NOT FOR EXTERNAL DISTRIBUTION.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ONFIDENTIAL. FOR ADVISOR USE ONLY. NOT FOR INVESTOR USE."/>
  <p:tag name="MIO_USER_INPUT_OPTIONS" val="CONFIDENTIAL. FOR ADVISOR USE ONLY. NOT FOR INVESTOR USE. ;  ;CONFIDENTIAL - FOR BROKER DEALER USE ONLY. To be reviewed for the purposes of bona fide due diligence efforts only. Not for investor use. Not for public distribution. ;CONFIDENTIAL. FOR INTERNAL FS INVESTMENTS USE ONLY. NOT FOR EXTERNAL DISTRIBUTION.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3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19"/>
  <p:tag name="MIO_HDS" val="True"/>
  <p:tag name="MIO_EK" val="5372"/>
  <p:tag name="MIO_EKGUID" val="f1e5a8e2-63d2-4cfa-99f6-b3b7ac717b1e"/>
  <p:tag name="MIO_UPDATE" val="True"/>
  <p:tag name="MIO_VERSION" val="25.04.2018 12:28:33"/>
  <p:tag name="MIO_DBID" val="E9E2F3E9-3AB4-4CA0-973A-1D0D5F121232"/>
  <p:tag name="MIO_LASTDOWNLOADED" val="08.05.2018 10:58:07"/>
  <p:tag name="MIO_OBJECTNAME" val="16:9 Main Master White"/>
  <p:tag name="MIO_LASTEDITORNAME" val="Elle Tros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ONFIDENTIAL. FOR ADVISOR USE ONLY. NOT FOR INVESTOR USE."/>
  <p:tag name="MIO_USER_INPUT_OPTIONS" val="CONFIDENTIAL. FOR ADVISOR USE ONLY. NOT FOR INVESTOR USE. ;  ;CONFIDENTIAL - FOR BROKER DEALER USE ONLY. To be reviewed for the purposes of bona fide due diligence efforts only. Not for investor use. Not for public distribution. ;CONFIDENTIAL. FOR INTERNAL FS INVESTMENTS USE ONLY. NOT FOR EXTERNAL DISTRIBUTION.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3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19"/>
  <p:tag name="MIO_HDS" val="True"/>
  <p:tag name="MIO_EK" val="5372"/>
  <p:tag name="MIO_EKGUID" val="f1e5a8e2-63d2-4cfa-99f6-b3b7ac717b1e"/>
  <p:tag name="MIO_UPDATE" val="True"/>
  <p:tag name="MIO_VERSION" val="25.04.2018 12:28:33"/>
  <p:tag name="MIO_DBID" val="E9E2F3E9-3AB4-4CA0-973A-1D0D5F121232"/>
  <p:tag name="MIO_LASTDOWNLOADED" val="08.05.2018 10:58:07"/>
  <p:tag name="MIO_OBJECTNAME" val="16:9 Main Master White"/>
  <p:tag name="MIO_LASTEDITORNAME" val="Elle Tros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ONFIDENTIAL. FOR ADVISOR USE ONLY. NOT FOR INVESTOR USE."/>
  <p:tag name="MIO_USER_INPUT_OPTIONS" val="CONFIDENTIAL. FOR ADVISOR USE ONLY. NOT FOR INVESTOR USE. ;  ;CONFIDENTIAL - FOR BROKER DEALER USE ONLY. To be reviewed for the purposes of bona fide due diligence efforts only. Not for investor use. Not for public distribution. ;CONFIDENTIAL. FOR INTERNAL FS INVESTMENTS USE ONLY. NOT FOR EXTERNAL DISTRIBUTION.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13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19"/>
  <p:tag name="MIO_HDS" val="True"/>
  <p:tag name="MIO_EK" val="5372"/>
  <p:tag name="MIO_EKGUID" val="f1e5a8e2-63d2-4cfa-99f6-b3b7ac717b1e"/>
  <p:tag name="MIO_UPDATE" val="True"/>
  <p:tag name="MIO_VERSION" val="25.04.2018 12:28:33"/>
  <p:tag name="MIO_DBID" val="E9E2F3E9-3AB4-4CA0-973A-1D0D5F121232"/>
  <p:tag name="MIO_LASTDOWNLOADED" val="08.05.2018 10:58:07"/>
  <p:tag name="MIO_OBJECTNAME" val="16:9 Main Master White"/>
  <p:tag name="MIO_LASTEDITORNAME" val="Elle Tros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ONFIDENTIAL. FOR ADVISOR USE ONLY. NOT FOR INVESTOR USE."/>
  <p:tag name="MIO_USER_INPUT_OPTIONS" val="CONFIDENTIAL. FOR ADVISOR USE ONLY. NOT FOR INVESTOR USE. ;  ;CONFIDENTIAL - FOR BROKER DEALER USE ONLY. To be reviewed for the purposes of bona fide due diligence efforts only. Not for investor use. Not for public distribution. ;CONFIDENTIAL. FOR INTERNAL FS INVESTMENTS USE ONLY. NOT FOR EXTERNAL DISTRIBUTION.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fs-standard-divider_2019">
  <a:themeElements>
    <a:clrScheme name="Custom 14">
      <a:dk1>
        <a:srgbClr val="000000"/>
      </a:dk1>
      <a:lt1>
        <a:srgbClr val="FFFFFF"/>
      </a:lt1>
      <a:dk2>
        <a:srgbClr val="F26924"/>
      </a:dk2>
      <a:lt2>
        <a:srgbClr val="000000"/>
      </a:lt2>
      <a:accent1>
        <a:srgbClr val="F26924"/>
      </a:accent1>
      <a:accent2>
        <a:srgbClr val="000000"/>
      </a:accent2>
      <a:accent3>
        <a:srgbClr val="5F5F5F"/>
      </a:accent3>
      <a:accent4>
        <a:srgbClr val="7F7F7F"/>
      </a:accent4>
      <a:accent5>
        <a:srgbClr val="B0B0B0"/>
      </a:accent5>
      <a:accent6>
        <a:srgbClr val="D9D9D9"/>
      </a:accent6>
      <a:hlink>
        <a:srgbClr val="00A3D7"/>
      </a:hlink>
      <a:folHlink>
        <a:srgbClr val="7F4594"/>
      </a:folHlink>
    </a:clrScheme>
    <a:fontScheme name="Franklin Squa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Custom Color 1">
      <a:srgbClr val="1E22AA"/>
    </a:custClr>
    <a:custClr name="Custom Color 2">
      <a:srgbClr val="00B098"/>
    </a:custClr>
    <a:custClr name="Custom Color 3">
      <a:srgbClr val="00A3D7"/>
    </a:custClr>
    <a:custClr name="Custom Color 4">
      <a:srgbClr val="6D7D3C"/>
    </a:custClr>
    <a:custClr name="Custom Color 5">
      <a:srgbClr val="796E64"/>
    </a:custClr>
    <a:custClr name="Custom Color 6">
      <a:srgbClr val="2C73EF"/>
    </a:custClr>
    <a:custClr name="Custom Color 7">
      <a:srgbClr val="D9AA28"/>
    </a:custClr>
    <a:custClr name="Custom Color 8">
      <a:srgbClr val="7D2128"/>
    </a:custClr>
    <a:custClr name="Custom Color 9">
      <a:srgbClr val="490E4B"/>
    </a:custClr>
  </a:custClrLst>
  <a:extLst>
    <a:ext uri="{05A4C25C-085E-4340-85A3-A5531E510DB2}">
      <thm15:themeFamily xmlns:thm15="http://schemas.microsoft.com/office/thememl/2012/main" name="FS Powerpoint template_2019.potm  -  Repaired" id="{AE89B54A-A4E6-48A4-AD64-D915FB74E4EC}" vid="{7F8F96B3-E1E1-4E71-9CAD-9428791A0289}"/>
    </a:ext>
  </a:extLst>
</a:theme>
</file>

<file path=ppt/theme/theme2.xml><?xml version="1.0" encoding="utf-8"?>
<a:theme xmlns:a="http://schemas.openxmlformats.org/drawingml/2006/main" name="fs-standard-2019">
  <a:themeElements>
    <a:clrScheme name="fs-standard">
      <a:dk1>
        <a:srgbClr val="000000"/>
      </a:dk1>
      <a:lt1>
        <a:srgbClr val="FFFFFF"/>
      </a:lt1>
      <a:dk2>
        <a:srgbClr val="F26924"/>
      </a:dk2>
      <a:lt2>
        <a:srgbClr val="000000"/>
      </a:lt2>
      <a:accent1>
        <a:srgbClr val="F26924"/>
      </a:accent1>
      <a:accent2>
        <a:srgbClr val="000000"/>
      </a:accent2>
      <a:accent3>
        <a:srgbClr val="5F5F5F"/>
      </a:accent3>
      <a:accent4>
        <a:srgbClr val="7F7F7F"/>
      </a:accent4>
      <a:accent5>
        <a:srgbClr val="B0B0B0"/>
      </a:accent5>
      <a:accent6>
        <a:srgbClr val="D9D9D9"/>
      </a:accent6>
      <a:hlink>
        <a:srgbClr val="00A3D7"/>
      </a:hlink>
      <a:folHlink>
        <a:srgbClr val="7F4594"/>
      </a:folHlink>
    </a:clrScheme>
    <a:fontScheme name="Franklin Squa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Custom Color 1">
      <a:srgbClr val="1E22AA"/>
    </a:custClr>
    <a:custClr name="Custom Color 2">
      <a:srgbClr val="00B098"/>
    </a:custClr>
    <a:custClr name="Custom Color 3">
      <a:srgbClr val="00A3D7"/>
    </a:custClr>
    <a:custClr name="Custom Color 4">
      <a:srgbClr val="6D7D3C"/>
    </a:custClr>
    <a:custClr name="Custom Color 5">
      <a:srgbClr val="796E64"/>
    </a:custClr>
    <a:custClr name="Custom Color 6">
      <a:srgbClr val="2C73EF"/>
    </a:custClr>
    <a:custClr name="Custom Color 7">
      <a:srgbClr val="D9AA28"/>
    </a:custClr>
    <a:custClr name="Custom Color 8">
      <a:srgbClr val="7D2128"/>
    </a:custClr>
    <a:custClr name="Custom Color 9">
      <a:srgbClr val="490E4B"/>
    </a:custClr>
  </a:custClrLst>
  <a:extLst>
    <a:ext uri="{05A4C25C-085E-4340-85A3-A5531E510DB2}">
      <thm15:themeFamily xmlns:thm15="http://schemas.microsoft.com/office/thememl/2012/main" name="FS Powerpoint template_2019.potm  -  Repaired" id="{AE89B54A-A4E6-48A4-AD64-D915FB74E4EC}" vid="{6C5EA3E2-AF81-4428-ABF1-BAA841A1697E}"/>
    </a:ext>
  </a:extLst>
</a:theme>
</file>

<file path=ppt/theme/theme3.xml><?xml version="1.0" encoding="utf-8"?>
<a:theme xmlns:a="http://schemas.openxmlformats.org/drawingml/2006/main" name="fs-standard-black_2019">
  <a:themeElements>
    <a:clrScheme name="Custom 14">
      <a:dk1>
        <a:srgbClr val="000000"/>
      </a:dk1>
      <a:lt1>
        <a:srgbClr val="FFFFFF"/>
      </a:lt1>
      <a:dk2>
        <a:srgbClr val="F26924"/>
      </a:dk2>
      <a:lt2>
        <a:srgbClr val="000000"/>
      </a:lt2>
      <a:accent1>
        <a:srgbClr val="F26924"/>
      </a:accent1>
      <a:accent2>
        <a:srgbClr val="000000"/>
      </a:accent2>
      <a:accent3>
        <a:srgbClr val="5F5F5F"/>
      </a:accent3>
      <a:accent4>
        <a:srgbClr val="7F7F7F"/>
      </a:accent4>
      <a:accent5>
        <a:srgbClr val="B0B0B0"/>
      </a:accent5>
      <a:accent6>
        <a:srgbClr val="D9D9D9"/>
      </a:accent6>
      <a:hlink>
        <a:srgbClr val="00A3D7"/>
      </a:hlink>
      <a:folHlink>
        <a:srgbClr val="7F4594"/>
      </a:folHlink>
    </a:clrScheme>
    <a:fontScheme name="Franklin Squa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Custom Color 1">
      <a:srgbClr val="1E22AA"/>
    </a:custClr>
    <a:custClr name="Custom Color 2">
      <a:srgbClr val="00B098"/>
    </a:custClr>
    <a:custClr name="Custom Color 3">
      <a:srgbClr val="00A3D7"/>
    </a:custClr>
    <a:custClr name="Custom Color 4">
      <a:srgbClr val="6D7D3C"/>
    </a:custClr>
    <a:custClr name="Custom Color 5">
      <a:srgbClr val="796E64"/>
    </a:custClr>
    <a:custClr name="Custom Color 6">
      <a:srgbClr val="2C73EF"/>
    </a:custClr>
    <a:custClr name="Custom Color 7">
      <a:srgbClr val="D9AA28"/>
    </a:custClr>
    <a:custClr name="Custom Color 8">
      <a:srgbClr val="7D2128"/>
    </a:custClr>
    <a:custClr name="Custom Color 9">
      <a:srgbClr val="490E4B"/>
    </a:custClr>
  </a:custClrLst>
  <a:extLst>
    <a:ext uri="{05A4C25C-085E-4340-85A3-A5531E510DB2}">
      <thm15:themeFamily xmlns:thm15="http://schemas.microsoft.com/office/thememl/2012/main" name="FS Powerpoint template_2019.potm  -  Repaired" id="{AE89B54A-A4E6-48A4-AD64-D915FB74E4EC}" vid="{CB9A7BFB-0B4D-433B-87C5-F29090A912C1}"/>
    </a:ext>
  </a:extLst>
</a:theme>
</file>

<file path=ppt/theme/theme4.xml><?xml version="1.0" encoding="utf-8"?>
<a:theme xmlns:a="http://schemas.openxmlformats.org/drawingml/2006/main" name="1_fs-standard-2019">
  <a:themeElements>
    <a:clrScheme name="fs-standard">
      <a:dk1>
        <a:srgbClr val="000000"/>
      </a:dk1>
      <a:lt1>
        <a:srgbClr val="FFFFFF"/>
      </a:lt1>
      <a:dk2>
        <a:srgbClr val="F26924"/>
      </a:dk2>
      <a:lt2>
        <a:srgbClr val="000000"/>
      </a:lt2>
      <a:accent1>
        <a:srgbClr val="F26924"/>
      </a:accent1>
      <a:accent2>
        <a:srgbClr val="000000"/>
      </a:accent2>
      <a:accent3>
        <a:srgbClr val="5F5F5F"/>
      </a:accent3>
      <a:accent4>
        <a:srgbClr val="7F7F7F"/>
      </a:accent4>
      <a:accent5>
        <a:srgbClr val="B0B0B0"/>
      </a:accent5>
      <a:accent6>
        <a:srgbClr val="D9D9D9"/>
      </a:accent6>
      <a:hlink>
        <a:srgbClr val="00A3D7"/>
      </a:hlink>
      <a:folHlink>
        <a:srgbClr val="7F4594"/>
      </a:folHlink>
    </a:clrScheme>
    <a:fontScheme name="Franklin Squa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Custom Color 1">
      <a:srgbClr val="1E22AA"/>
    </a:custClr>
    <a:custClr name="Custom Color 2">
      <a:srgbClr val="00B098"/>
    </a:custClr>
    <a:custClr name="Custom Color 3">
      <a:srgbClr val="00A3D7"/>
    </a:custClr>
    <a:custClr name="Custom Color 4">
      <a:srgbClr val="6D7D3C"/>
    </a:custClr>
    <a:custClr name="Custom Color 5">
      <a:srgbClr val="796E64"/>
    </a:custClr>
    <a:custClr name="Custom Color 6">
      <a:srgbClr val="2C73EF"/>
    </a:custClr>
    <a:custClr name="Custom Color 7">
      <a:srgbClr val="D9AA28"/>
    </a:custClr>
    <a:custClr name="Custom Color 8">
      <a:srgbClr val="7D2128"/>
    </a:custClr>
    <a:custClr name="Custom Color 9">
      <a:srgbClr val="490E4B"/>
    </a:custClr>
  </a:custClrLst>
  <a:extLst>
    <a:ext uri="{05A4C25C-085E-4340-85A3-A5531E510DB2}">
      <thm15:themeFamily xmlns:thm15="http://schemas.microsoft.com/office/thememl/2012/main" name="fs-standard-2019" id="{D22340DD-A99D-7B4D-B741-11894CC9E9DE}" vid="{4D021AF1-E79E-AF4B-9824-3D1779ED0D3F}"/>
    </a:ext>
  </a:extLst>
</a:theme>
</file>

<file path=ppt/theme/theme5.xml><?xml version="1.0" encoding="utf-8"?>
<a:theme xmlns:a="http://schemas.openxmlformats.org/drawingml/2006/main" name="2_FS black 20180425">
  <a:themeElements>
    <a:clrScheme name="Custom 14">
      <a:dk1>
        <a:srgbClr val="000000"/>
      </a:dk1>
      <a:lt1>
        <a:srgbClr val="FFFFFF"/>
      </a:lt1>
      <a:dk2>
        <a:srgbClr val="F26924"/>
      </a:dk2>
      <a:lt2>
        <a:srgbClr val="000000"/>
      </a:lt2>
      <a:accent1>
        <a:srgbClr val="F26924"/>
      </a:accent1>
      <a:accent2>
        <a:srgbClr val="000000"/>
      </a:accent2>
      <a:accent3>
        <a:srgbClr val="5F5F5F"/>
      </a:accent3>
      <a:accent4>
        <a:srgbClr val="7F7F7F"/>
      </a:accent4>
      <a:accent5>
        <a:srgbClr val="B0B0B0"/>
      </a:accent5>
      <a:accent6>
        <a:srgbClr val="D9D9D9"/>
      </a:accent6>
      <a:hlink>
        <a:srgbClr val="00A3D7"/>
      </a:hlink>
      <a:folHlink>
        <a:srgbClr val="7F4594"/>
      </a:folHlink>
    </a:clrScheme>
    <a:fontScheme name="Franklin Squa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Custom Color 1">
      <a:srgbClr val="485DAA"/>
    </a:custClr>
    <a:custClr name="Custom Color 2">
      <a:srgbClr val="00B098"/>
    </a:custClr>
    <a:custClr name="Custom Color 3">
      <a:srgbClr val="BB8C15"/>
    </a:custClr>
    <a:custClr name="Custom Color 4">
      <a:srgbClr val="B2AC17"/>
    </a:custClr>
    <a:custClr name="Custom Color 5">
      <a:srgbClr val="00A3D7"/>
    </a:custClr>
    <a:custClr name="Custom Color 6">
      <a:srgbClr val="7F4594"/>
    </a:custClr>
    <a:custClr name="Custom Color 7">
      <a:srgbClr val="AD122A"/>
    </a:custClr>
  </a:custClrLst>
  <a:extLst>
    <a:ext uri="{05A4C25C-085E-4340-85A3-A5531E510DB2}">
      <thm15:themeFamily xmlns:thm15="http://schemas.microsoft.com/office/thememl/2012/main" name="FS Powerpoint template_20180425" id="{60C75CA2-56BB-7743-9C94-C4DF82FC7EF9}" vid="{CCD48BCA-557E-0349-B0AA-379FB3DE6C15}"/>
    </a:ext>
  </a:extLst>
</a:theme>
</file>

<file path=ppt/theme/theme6.xml><?xml version="1.0" encoding="utf-8"?>
<a:theme xmlns:a="http://schemas.openxmlformats.org/drawingml/2006/main" name="2_fs-standard-black_2019">
  <a:themeElements>
    <a:clrScheme name="Custom 14">
      <a:dk1>
        <a:srgbClr val="000000"/>
      </a:dk1>
      <a:lt1>
        <a:srgbClr val="FFFFFF"/>
      </a:lt1>
      <a:dk2>
        <a:srgbClr val="F26924"/>
      </a:dk2>
      <a:lt2>
        <a:srgbClr val="000000"/>
      </a:lt2>
      <a:accent1>
        <a:srgbClr val="F26924"/>
      </a:accent1>
      <a:accent2>
        <a:srgbClr val="000000"/>
      </a:accent2>
      <a:accent3>
        <a:srgbClr val="5F5F5F"/>
      </a:accent3>
      <a:accent4>
        <a:srgbClr val="7F7F7F"/>
      </a:accent4>
      <a:accent5>
        <a:srgbClr val="B0B0B0"/>
      </a:accent5>
      <a:accent6>
        <a:srgbClr val="D9D9D9"/>
      </a:accent6>
      <a:hlink>
        <a:srgbClr val="00A3D7"/>
      </a:hlink>
      <a:folHlink>
        <a:srgbClr val="7F4594"/>
      </a:folHlink>
    </a:clrScheme>
    <a:fontScheme name="Franklin Squa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Custom Color 1">
      <a:srgbClr val="1E22AA"/>
    </a:custClr>
    <a:custClr name="Custom Color 2">
      <a:srgbClr val="00B098"/>
    </a:custClr>
    <a:custClr name="Custom Color 3">
      <a:srgbClr val="00A3D7"/>
    </a:custClr>
    <a:custClr name="Custom Color 4">
      <a:srgbClr val="6D7D3C"/>
    </a:custClr>
    <a:custClr name="Custom Color 5">
      <a:srgbClr val="796E64"/>
    </a:custClr>
    <a:custClr name="Custom Color 6">
      <a:srgbClr val="2C73EF"/>
    </a:custClr>
    <a:custClr name="Custom Color 7">
      <a:srgbClr val="D9AA28"/>
    </a:custClr>
    <a:custClr name="Custom Color 8">
      <a:srgbClr val="7D2128"/>
    </a:custClr>
    <a:custClr name="Custom Color 9">
      <a:srgbClr val="490E4B"/>
    </a:custClr>
  </a:custClrLst>
  <a:extLst>
    <a:ext uri="{05A4C25C-085E-4340-85A3-A5531E510DB2}">
      <thm15:themeFamily xmlns:thm15="http://schemas.microsoft.com/office/thememl/2012/main" name="FS Powerpoint template_2019.potm  -  Repaired" id="{AE89B54A-A4E6-48A4-AD64-D915FB74E4EC}" vid="{CB9A7BFB-0B4D-433B-87C5-F29090A912C1}"/>
    </a:ext>
  </a:extLst>
</a:theme>
</file>

<file path=ppt/theme/theme7.xml><?xml version="1.0" encoding="utf-8"?>
<a:theme xmlns:a="http://schemas.openxmlformats.org/drawingml/2006/main" name="1_fs-standard-black_2019">
  <a:themeElements>
    <a:clrScheme name="Custom 14">
      <a:dk1>
        <a:srgbClr val="000000"/>
      </a:dk1>
      <a:lt1>
        <a:srgbClr val="FFFFFF"/>
      </a:lt1>
      <a:dk2>
        <a:srgbClr val="F26924"/>
      </a:dk2>
      <a:lt2>
        <a:srgbClr val="000000"/>
      </a:lt2>
      <a:accent1>
        <a:srgbClr val="F26924"/>
      </a:accent1>
      <a:accent2>
        <a:srgbClr val="000000"/>
      </a:accent2>
      <a:accent3>
        <a:srgbClr val="5F5F5F"/>
      </a:accent3>
      <a:accent4>
        <a:srgbClr val="7F7F7F"/>
      </a:accent4>
      <a:accent5>
        <a:srgbClr val="B0B0B0"/>
      </a:accent5>
      <a:accent6>
        <a:srgbClr val="D9D9D9"/>
      </a:accent6>
      <a:hlink>
        <a:srgbClr val="00A3D7"/>
      </a:hlink>
      <a:folHlink>
        <a:srgbClr val="7F4594"/>
      </a:folHlink>
    </a:clrScheme>
    <a:fontScheme name="Franklin Squa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Custom Color 1">
      <a:srgbClr val="1E22AA"/>
    </a:custClr>
    <a:custClr name="Custom Color 2">
      <a:srgbClr val="00B098"/>
    </a:custClr>
    <a:custClr name="Custom Color 3">
      <a:srgbClr val="00A3D7"/>
    </a:custClr>
    <a:custClr name="Custom Color 4">
      <a:srgbClr val="6D7D3C"/>
    </a:custClr>
    <a:custClr name="Custom Color 5">
      <a:srgbClr val="796E64"/>
    </a:custClr>
    <a:custClr name="Custom Color 6">
      <a:srgbClr val="2C73EF"/>
    </a:custClr>
    <a:custClr name="Custom Color 7">
      <a:srgbClr val="D9AA28"/>
    </a:custClr>
    <a:custClr name="Custom Color 8">
      <a:srgbClr val="7D2128"/>
    </a:custClr>
    <a:custClr name="Custom Color 9">
      <a:srgbClr val="490E4B"/>
    </a:custClr>
  </a:custClrLst>
  <a:extLst>
    <a:ext uri="{05A4C25C-085E-4340-85A3-A5531E510DB2}">
      <thm15:themeFamily xmlns:thm15="http://schemas.microsoft.com/office/thememl/2012/main" name="FS Powerpoint template_2019.potm  -  Repaired" id="{AE89B54A-A4E6-48A4-AD64-D915FB74E4EC}" vid="{CB9A7BFB-0B4D-433B-87C5-F29090A912C1}"/>
    </a:ext>
  </a:extLst>
</a:theme>
</file>

<file path=ppt/theme/theme8.xml><?xml version="1.0" encoding="utf-8"?>
<a:theme xmlns:a="http://schemas.openxmlformats.org/drawingml/2006/main" name="Office Theme">
  <a:themeElements>
    <a:clrScheme name="FS-standard">
      <a:dk1>
        <a:srgbClr val="000000"/>
      </a:dk1>
      <a:lt1>
        <a:srgbClr val="FFFFFF"/>
      </a:lt1>
      <a:dk2>
        <a:srgbClr val="F26924"/>
      </a:dk2>
      <a:lt2>
        <a:srgbClr val="000000"/>
      </a:lt2>
      <a:accent1>
        <a:srgbClr val="F26924"/>
      </a:accent1>
      <a:accent2>
        <a:srgbClr val="000000"/>
      </a:accent2>
      <a:accent3>
        <a:srgbClr val="5F5F5F"/>
      </a:accent3>
      <a:accent4>
        <a:srgbClr val="7F7F7F"/>
      </a:accent4>
      <a:accent5>
        <a:srgbClr val="B0B0B0"/>
      </a:accent5>
      <a:accent6>
        <a:srgbClr val="D9D9D9"/>
      </a:accent6>
      <a:hlink>
        <a:srgbClr val="00A3D7"/>
      </a:hlink>
      <a:folHlink>
        <a:srgbClr val="7F459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s-standard-divider_2019</Template>
  <TotalTime>48380</TotalTime>
  <Words>591</Words>
  <Application>Microsoft Office PowerPoint</Application>
  <PresentationFormat>Widescreen</PresentationFormat>
  <Paragraphs>231</Paragraphs>
  <Slides>13</Slides>
  <Notes>10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7</vt:i4>
      </vt:variant>
      <vt:variant>
        <vt:lpstr>Slide Titles</vt:lpstr>
      </vt:variant>
      <vt:variant>
        <vt:i4>13</vt:i4>
      </vt:variant>
    </vt:vector>
  </HeadingPairs>
  <TitlesOfParts>
    <vt:vector size="29" baseType="lpstr">
      <vt:lpstr>.HelveticaNeueDeskInterface-Regular</vt:lpstr>
      <vt:lpstr>Arial</vt:lpstr>
      <vt:lpstr>Arial Narrow</vt:lpstr>
      <vt:lpstr>Calibri</vt:lpstr>
      <vt:lpstr>Graphik Medium</vt:lpstr>
      <vt:lpstr>Graphik TF TT Medium</vt:lpstr>
      <vt:lpstr>Lucida Grande</vt:lpstr>
      <vt:lpstr>LucidaGrande</vt:lpstr>
      <vt:lpstr>Wingdings</vt:lpstr>
      <vt:lpstr>fs-standard-divider_2019</vt:lpstr>
      <vt:lpstr>fs-standard-2019</vt:lpstr>
      <vt:lpstr>fs-standard-black_2019</vt:lpstr>
      <vt:lpstr>1_fs-standard-2019</vt:lpstr>
      <vt:lpstr>2_FS black 20180425</vt:lpstr>
      <vt:lpstr>2_fs-standard-black_2019</vt:lpstr>
      <vt:lpstr>1_fs-standard-black_2019</vt:lpstr>
      <vt:lpstr>Predictive Index – Overview &amp; Support Slides</vt:lpstr>
      <vt:lpstr>Expected Outcomes from the PI:</vt:lpstr>
      <vt:lpstr>PowerPoint Presentation</vt:lpstr>
      <vt:lpstr>Reading a PI Pattern</vt:lpstr>
      <vt:lpstr>Dominance</vt:lpstr>
      <vt:lpstr>Extraversion</vt:lpstr>
      <vt:lpstr>Patience</vt:lpstr>
      <vt:lpstr>Formality</vt:lpstr>
      <vt:lpstr>It Starts with Understanding Your “Selves”</vt:lpstr>
      <vt:lpstr>Factor E</vt:lpstr>
      <vt:lpstr>When Behaviors Are Ineffective…</vt:lpstr>
      <vt:lpstr>PI Reference profil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ain better insight  into your business</dc:title>
  <dc:creator>Elle Trost</dc:creator>
  <cp:lastModifiedBy>Steve Hopkins</cp:lastModifiedBy>
  <cp:revision>291</cp:revision>
  <cp:lastPrinted>2020-03-24T19:44:35Z</cp:lastPrinted>
  <dcterms:created xsi:type="dcterms:W3CDTF">2019-03-14T14:08:52Z</dcterms:created>
  <dcterms:modified xsi:type="dcterms:W3CDTF">2021-12-03T15:56:16Z</dcterms:modified>
</cp:coreProperties>
</file>